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40" r:id="rId2"/>
    <p:sldMasterId id="2147483750" r:id="rId3"/>
    <p:sldMasterId id="2147483759" r:id="rId4"/>
    <p:sldMasterId id="2147483776" r:id="rId5"/>
  </p:sldMasterIdLst>
  <p:notesMasterIdLst>
    <p:notesMasterId r:id="rId30"/>
  </p:notesMasterIdLst>
  <p:sldIdLst>
    <p:sldId id="1751" r:id="rId6"/>
    <p:sldId id="1712" r:id="rId7"/>
    <p:sldId id="1717" r:id="rId8"/>
    <p:sldId id="1752" r:id="rId9"/>
    <p:sldId id="1762" r:id="rId10"/>
    <p:sldId id="1768" r:id="rId11"/>
    <p:sldId id="1714" r:id="rId12"/>
    <p:sldId id="1366" r:id="rId13"/>
    <p:sldId id="1367" r:id="rId14"/>
    <p:sldId id="1753" r:id="rId15"/>
    <p:sldId id="1756" r:id="rId16"/>
    <p:sldId id="1713" r:id="rId17"/>
    <p:sldId id="1754" r:id="rId18"/>
    <p:sldId id="1715" r:id="rId19"/>
    <p:sldId id="1755" r:id="rId20"/>
    <p:sldId id="1757" r:id="rId21"/>
    <p:sldId id="1759" r:id="rId22"/>
    <p:sldId id="1758" r:id="rId23"/>
    <p:sldId id="1760" r:id="rId24"/>
    <p:sldId id="1763" r:id="rId25"/>
    <p:sldId id="1764" r:id="rId26"/>
    <p:sldId id="1765" r:id="rId27"/>
    <p:sldId id="1766" r:id="rId28"/>
    <p:sldId id="1769" r:id="rId29"/>
  </p:sldIdLst>
  <p:sldSz cx="12192000" cy="6858000"/>
  <p:notesSz cx="6858000" cy="9144000"/>
  <p:embeddedFontLst>
    <p:embeddedFont>
      <p:font typeface="Arial Black" panose="020B0A04020102020204" pitchFamily="34" charset="0"/>
      <p:bold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Calibri" panose="020F0502020204030204" pitchFamily="34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353"/>
    <a:srgbClr val="D0CCCE"/>
    <a:srgbClr val="305983"/>
    <a:srgbClr val="9E0D34"/>
    <a:srgbClr val="FF33CC"/>
    <a:srgbClr val="00FF00"/>
    <a:srgbClr val="0000FF"/>
    <a:srgbClr val="B0C2E5"/>
    <a:srgbClr val="7191D1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41" autoAdjust="0"/>
    <p:restoredTop sz="96327" autoAdjust="0"/>
  </p:normalViewPr>
  <p:slideViewPr>
    <p:cSldViewPr snapToGrid="0">
      <p:cViewPr varScale="1">
        <p:scale>
          <a:sx n="102" d="100"/>
          <a:sy n="102" d="100"/>
        </p:scale>
        <p:origin x="138" y="246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font" Target="fonts/font4.fntdata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3.fntdata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6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1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List_aplikac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2:$A$176</c:f>
              <c:numCache>
                <c:formatCode>m/d/yyyy</c:formatCode>
                <c:ptCount val="115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5</c:v>
                </c:pt>
                <c:pt idx="10">
                  <c:v>44206</c:v>
                </c:pt>
                <c:pt idx="11">
                  <c:v>44207</c:v>
                </c:pt>
                <c:pt idx="12">
                  <c:v>44208</c:v>
                </c:pt>
                <c:pt idx="13">
                  <c:v>44209</c:v>
                </c:pt>
                <c:pt idx="14">
                  <c:v>44210</c:v>
                </c:pt>
                <c:pt idx="15">
                  <c:v>44211</c:v>
                </c:pt>
                <c:pt idx="16">
                  <c:v>44212</c:v>
                </c:pt>
                <c:pt idx="17">
                  <c:v>44213</c:v>
                </c:pt>
                <c:pt idx="18">
                  <c:v>44214</c:v>
                </c:pt>
                <c:pt idx="19">
                  <c:v>44215</c:v>
                </c:pt>
                <c:pt idx="20">
                  <c:v>44216</c:v>
                </c:pt>
                <c:pt idx="21">
                  <c:v>44217</c:v>
                </c:pt>
                <c:pt idx="22">
                  <c:v>44218</c:v>
                </c:pt>
                <c:pt idx="23">
                  <c:v>44219</c:v>
                </c:pt>
                <c:pt idx="24">
                  <c:v>44220</c:v>
                </c:pt>
                <c:pt idx="25">
                  <c:v>44221</c:v>
                </c:pt>
                <c:pt idx="26">
                  <c:v>44222</c:v>
                </c:pt>
                <c:pt idx="27">
                  <c:v>44223</c:v>
                </c:pt>
                <c:pt idx="28">
                  <c:v>44224</c:v>
                </c:pt>
                <c:pt idx="29">
                  <c:v>44225</c:v>
                </c:pt>
                <c:pt idx="30">
                  <c:v>44226</c:v>
                </c:pt>
                <c:pt idx="31">
                  <c:v>44227</c:v>
                </c:pt>
                <c:pt idx="32">
                  <c:v>44228</c:v>
                </c:pt>
                <c:pt idx="33">
                  <c:v>44229</c:v>
                </c:pt>
                <c:pt idx="34">
                  <c:v>44230</c:v>
                </c:pt>
                <c:pt idx="35">
                  <c:v>44231</c:v>
                </c:pt>
                <c:pt idx="36">
                  <c:v>44232</c:v>
                </c:pt>
                <c:pt idx="37">
                  <c:v>44233</c:v>
                </c:pt>
                <c:pt idx="38">
                  <c:v>44234</c:v>
                </c:pt>
                <c:pt idx="39">
                  <c:v>44235</c:v>
                </c:pt>
                <c:pt idx="40">
                  <c:v>44236</c:v>
                </c:pt>
                <c:pt idx="41">
                  <c:v>44237</c:v>
                </c:pt>
                <c:pt idx="42">
                  <c:v>44238</c:v>
                </c:pt>
                <c:pt idx="43">
                  <c:v>44239</c:v>
                </c:pt>
                <c:pt idx="44">
                  <c:v>44240</c:v>
                </c:pt>
                <c:pt idx="45">
                  <c:v>44241</c:v>
                </c:pt>
                <c:pt idx="46">
                  <c:v>44242</c:v>
                </c:pt>
                <c:pt idx="47">
                  <c:v>44243</c:v>
                </c:pt>
                <c:pt idx="48">
                  <c:v>44244</c:v>
                </c:pt>
                <c:pt idx="49">
                  <c:v>44245</c:v>
                </c:pt>
                <c:pt idx="50">
                  <c:v>44246</c:v>
                </c:pt>
                <c:pt idx="51">
                  <c:v>44247</c:v>
                </c:pt>
                <c:pt idx="52">
                  <c:v>44248</c:v>
                </c:pt>
                <c:pt idx="53">
                  <c:v>44249</c:v>
                </c:pt>
                <c:pt idx="54">
                  <c:v>44250</c:v>
                </c:pt>
                <c:pt idx="55">
                  <c:v>44251</c:v>
                </c:pt>
                <c:pt idx="56">
                  <c:v>44252</c:v>
                </c:pt>
                <c:pt idx="57">
                  <c:v>44253</c:v>
                </c:pt>
                <c:pt idx="58">
                  <c:v>44254</c:v>
                </c:pt>
                <c:pt idx="59">
                  <c:v>44255</c:v>
                </c:pt>
                <c:pt idx="60">
                  <c:v>44256</c:v>
                </c:pt>
                <c:pt idx="61">
                  <c:v>44257</c:v>
                </c:pt>
                <c:pt idx="62">
                  <c:v>44258</c:v>
                </c:pt>
                <c:pt idx="63">
                  <c:v>44259</c:v>
                </c:pt>
                <c:pt idx="64">
                  <c:v>44260</c:v>
                </c:pt>
                <c:pt idx="65">
                  <c:v>44261</c:v>
                </c:pt>
                <c:pt idx="66">
                  <c:v>44262</c:v>
                </c:pt>
                <c:pt idx="67">
                  <c:v>44263</c:v>
                </c:pt>
                <c:pt idx="68">
                  <c:v>44264</c:v>
                </c:pt>
                <c:pt idx="69">
                  <c:v>44265</c:v>
                </c:pt>
                <c:pt idx="70">
                  <c:v>44266</c:v>
                </c:pt>
                <c:pt idx="71">
                  <c:v>44267</c:v>
                </c:pt>
                <c:pt idx="72">
                  <c:v>44268</c:v>
                </c:pt>
                <c:pt idx="73">
                  <c:v>44269</c:v>
                </c:pt>
                <c:pt idx="74">
                  <c:v>44270</c:v>
                </c:pt>
                <c:pt idx="75">
                  <c:v>44271</c:v>
                </c:pt>
                <c:pt idx="76">
                  <c:v>44272</c:v>
                </c:pt>
                <c:pt idx="77">
                  <c:v>44273</c:v>
                </c:pt>
                <c:pt idx="78">
                  <c:v>44274</c:v>
                </c:pt>
                <c:pt idx="79">
                  <c:v>44275</c:v>
                </c:pt>
                <c:pt idx="80">
                  <c:v>44276</c:v>
                </c:pt>
                <c:pt idx="81">
                  <c:v>44277</c:v>
                </c:pt>
                <c:pt idx="82">
                  <c:v>44278</c:v>
                </c:pt>
                <c:pt idx="83">
                  <c:v>44279</c:v>
                </c:pt>
                <c:pt idx="84">
                  <c:v>44280</c:v>
                </c:pt>
                <c:pt idx="85">
                  <c:v>44281</c:v>
                </c:pt>
                <c:pt idx="86">
                  <c:v>44282</c:v>
                </c:pt>
                <c:pt idx="87">
                  <c:v>44283</c:v>
                </c:pt>
                <c:pt idx="88">
                  <c:v>44284</c:v>
                </c:pt>
                <c:pt idx="89">
                  <c:v>44285</c:v>
                </c:pt>
                <c:pt idx="90">
                  <c:v>44286</c:v>
                </c:pt>
                <c:pt idx="91">
                  <c:v>44287</c:v>
                </c:pt>
                <c:pt idx="92">
                  <c:v>44288</c:v>
                </c:pt>
                <c:pt idx="93">
                  <c:v>44289</c:v>
                </c:pt>
                <c:pt idx="94">
                  <c:v>44290</c:v>
                </c:pt>
                <c:pt idx="95">
                  <c:v>44291</c:v>
                </c:pt>
                <c:pt idx="96">
                  <c:v>44292</c:v>
                </c:pt>
                <c:pt idx="97">
                  <c:v>44293</c:v>
                </c:pt>
                <c:pt idx="98">
                  <c:v>44294</c:v>
                </c:pt>
                <c:pt idx="99">
                  <c:v>44295</c:v>
                </c:pt>
                <c:pt idx="100">
                  <c:v>44296</c:v>
                </c:pt>
                <c:pt idx="101">
                  <c:v>44297</c:v>
                </c:pt>
                <c:pt idx="102">
                  <c:v>44298</c:v>
                </c:pt>
                <c:pt idx="103">
                  <c:v>44299</c:v>
                </c:pt>
                <c:pt idx="104">
                  <c:v>44300</c:v>
                </c:pt>
                <c:pt idx="105">
                  <c:v>44301</c:v>
                </c:pt>
                <c:pt idx="106">
                  <c:v>44302</c:v>
                </c:pt>
                <c:pt idx="107">
                  <c:v>44303</c:v>
                </c:pt>
                <c:pt idx="108">
                  <c:v>44304</c:v>
                </c:pt>
                <c:pt idx="109">
                  <c:v>44305</c:v>
                </c:pt>
                <c:pt idx="110">
                  <c:v>44306</c:v>
                </c:pt>
                <c:pt idx="111">
                  <c:v>44307</c:v>
                </c:pt>
                <c:pt idx="112">
                  <c:v>44308</c:v>
                </c:pt>
                <c:pt idx="113">
                  <c:v>44309</c:v>
                </c:pt>
                <c:pt idx="114">
                  <c:v>44310</c:v>
                </c:pt>
              </c:numCache>
            </c:numRef>
          </c:cat>
          <c:val>
            <c:numRef>
              <c:f>Sheet1!$B$62:$B$176</c:f>
              <c:numCache>
                <c:formatCode>General</c:formatCode>
                <c:ptCount val="115"/>
                <c:pt idx="0">
                  <c:v>13307</c:v>
                </c:pt>
                <c:pt idx="1">
                  <c:v>3446</c:v>
                </c:pt>
                <c:pt idx="2">
                  <c:v>4985</c:v>
                </c:pt>
                <c:pt idx="3">
                  <c:v>6268</c:v>
                </c:pt>
                <c:pt idx="4">
                  <c:v>12956</c:v>
                </c:pt>
                <c:pt idx="5">
                  <c:v>17401</c:v>
                </c:pt>
                <c:pt idx="6">
                  <c:v>17771</c:v>
                </c:pt>
                <c:pt idx="7">
                  <c:v>14882</c:v>
                </c:pt>
                <c:pt idx="8">
                  <c:v>13099</c:v>
                </c:pt>
                <c:pt idx="9">
                  <c:v>8437</c:v>
                </c:pt>
                <c:pt idx="10">
                  <c:v>4313</c:v>
                </c:pt>
                <c:pt idx="11">
                  <c:v>9386</c:v>
                </c:pt>
                <c:pt idx="12">
                  <c:v>10811</c:v>
                </c:pt>
                <c:pt idx="13">
                  <c:v>10920</c:v>
                </c:pt>
                <c:pt idx="14">
                  <c:v>8087</c:v>
                </c:pt>
                <c:pt idx="15">
                  <c:v>9301</c:v>
                </c:pt>
                <c:pt idx="16">
                  <c:v>5241</c:v>
                </c:pt>
                <c:pt idx="17">
                  <c:v>2641</c:v>
                </c:pt>
                <c:pt idx="18">
                  <c:v>7668</c:v>
                </c:pt>
                <c:pt idx="19">
                  <c:v>9610</c:v>
                </c:pt>
                <c:pt idx="20">
                  <c:v>8215</c:v>
                </c:pt>
                <c:pt idx="21">
                  <c:v>7532</c:v>
                </c:pt>
                <c:pt idx="22">
                  <c:v>8468</c:v>
                </c:pt>
                <c:pt idx="23">
                  <c:v>4239</c:v>
                </c:pt>
                <c:pt idx="24">
                  <c:v>2394</c:v>
                </c:pt>
                <c:pt idx="25">
                  <c:v>6974</c:v>
                </c:pt>
                <c:pt idx="26">
                  <c:v>9195</c:v>
                </c:pt>
                <c:pt idx="27">
                  <c:v>8504</c:v>
                </c:pt>
                <c:pt idx="28">
                  <c:v>8010</c:v>
                </c:pt>
                <c:pt idx="29">
                  <c:v>8053</c:v>
                </c:pt>
                <c:pt idx="30">
                  <c:v>4055</c:v>
                </c:pt>
                <c:pt idx="31">
                  <c:v>2573</c:v>
                </c:pt>
                <c:pt idx="32">
                  <c:v>7217</c:v>
                </c:pt>
                <c:pt idx="33">
                  <c:v>9148</c:v>
                </c:pt>
                <c:pt idx="34">
                  <c:v>9667</c:v>
                </c:pt>
                <c:pt idx="35">
                  <c:v>8107</c:v>
                </c:pt>
                <c:pt idx="36">
                  <c:v>8622</c:v>
                </c:pt>
                <c:pt idx="37">
                  <c:v>4820</c:v>
                </c:pt>
                <c:pt idx="38">
                  <c:v>2451</c:v>
                </c:pt>
                <c:pt idx="39">
                  <c:v>7777</c:v>
                </c:pt>
                <c:pt idx="40">
                  <c:v>10283</c:v>
                </c:pt>
                <c:pt idx="41">
                  <c:v>9538</c:v>
                </c:pt>
                <c:pt idx="42">
                  <c:v>9018</c:v>
                </c:pt>
                <c:pt idx="43">
                  <c:v>8830</c:v>
                </c:pt>
                <c:pt idx="44">
                  <c:v>5141</c:v>
                </c:pt>
                <c:pt idx="45">
                  <c:v>2880</c:v>
                </c:pt>
                <c:pt idx="46">
                  <c:v>8905</c:v>
                </c:pt>
                <c:pt idx="47">
                  <c:v>12608</c:v>
                </c:pt>
                <c:pt idx="48">
                  <c:v>10939</c:v>
                </c:pt>
                <c:pt idx="49">
                  <c:v>11703</c:v>
                </c:pt>
                <c:pt idx="50">
                  <c:v>11288</c:v>
                </c:pt>
                <c:pt idx="51">
                  <c:v>6775</c:v>
                </c:pt>
                <c:pt idx="52">
                  <c:v>4068</c:v>
                </c:pt>
                <c:pt idx="53">
                  <c:v>11408</c:v>
                </c:pt>
                <c:pt idx="54">
                  <c:v>15840</c:v>
                </c:pt>
                <c:pt idx="55">
                  <c:v>13796</c:v>
                </c:pt>
                <c:pt idx="56">
                  <c:v>14588</c:v>
                </c:pt>
                <c:pt idx="57">
                  <c:v>14776</c:v>
                </c:pt>
                <c:pt idx="58">
                  <c:v>7824</c:v>
                </c:pt>
                <c:pt idx="59">
                  <c:v>4587</c:v>
                </c:pt>
                <c:pt idx="60">
                  <c:v>12325</c:v>
                </c:pt>
                <c:pt idx="61">
                  <c:v>16777</c:v>
                </c:pt>
                <c:pt idx="62">
                  <c:v>15237</c:v>
                </c:pt>
                <c:pt idx="63">
                  <c:v>14649</c:v>
                </c:pt>
                <c:pt idx="64">
                  <c:v>13169</c:v>
                </c:pt>
                <c:pt idx="65">
                  <c:v>9130</c:v>
                </c:pt>
                <c:pt idx="66">
                  <c:v>3982</c:v>
                </c:pt>
                <c:pt idx="67">
                  <c:v>10653</c:v>
                </c:pt>
                <c:pt idx="68">
                  <c:v>15358</c:v>
                </c:pt>
                <c:pt idx="69">
                  <c:v>14535</c:v>
                </c:pt>
                <c:pt idx="70">
                  <c:v>11244</c:v>
                </c:pt>
                <c:pt idx="71">
                  <c:v>14958</c:v>
                </c:pt>
                <c:pt idx="72">
                  <c:v>6956</c:v>
                </c:pt>
                <c:pt idx="73">
                  <c:v>3332</c:v>
                </c:pt>
                <c:pt idx="74">
                  <c:v>10628</c:v>
                </c:pt>
                <c:pt idx="75">
                  <c:v>14028</c:v>
                </c:pt>
                <c:pt idx="76">
                  <c:v>12027</c:v>
                </c:pt>
                <c:pt idx="77">
                  <c:v>10660</c:v>
                </c:pt>
                <c:pt idx="78">
                  <c:v>9711</c:v>
                </c:pt>
                <c:pt idx="79">
                  <c:v>5466</c:v>
                </c:pt>
                <c:pt idx="80">
                  <c:v>2389</c:v>
                </c:pt>
                <c:pt idx="81">
                  <c:v>8240</c:v>
                </c:pt>
                <c:pt idx="82">
                  <c:v>10968</c:v>
                </c:pt>
                <c:pt idx="83">
                  <c:v>8847</c:v>
                </c:pt>
                <c:pt idx="84">
                  <c:v>7925</c:v>
                </c:pt>
                <c:pt idx="85">
                  <c:v>7710</c:v>
                </c:pt>
                <c:pt idx="86">
                  <c:v>3969</c:v>
                </c:pt>
                <c:pt idx="87">
                  <c:v>1743</c:v>
                </c:pt>
                <c:pt idx="88">
                  <c:v>6934</c:v>
                </c:pt>
                <c:pt idx="89">
                  <c:v>8629</c:v>
                </c:pt>
                <c:pt idx="90">
                  <c:v>7262</c:v>
                </c:pt>
                <c:pt idx="91">
                  <c:v>6244</c:v>
                </c:pt>
                <c:pt idx="92">
                  <c:v>3837</c:v>
                </c:pt>
                <c:pt idx="93">
                  <c:v>2160</c:v>
                </c:pt>
                <c:pt idx="94">
                  <c:v>1925</c:v>
                </c:pt>
                <c:pt idx="95">
                  <c:v>1419</c:v>
                </c:pt>
                <c:pt idx="96">
                  <c:v>5580</c:v>
                </c:pt>
                <c:pt idx="97">
                  <c:v>7051</c:v>
                </c:pt>
                <c:pt idx="98">
                  <c:v>5282</c:v>
                </c:pt>
                <c:pt idx="99">
                  <c:v>4820</c:v>
                </c:pt>
                <c:pt idx="100">
                  <c:v>2204</c:v>
                </c:pt>
                <c:pt idx="101">
                  <c:v>985</c:v>
                </c:pt>
                <c:pt idx="102">
                  <c:v>3868</c:v>
                </c:pt>
                <c:pt idx="103">
                  <c:v>5056</c:v>
                </c:pt>
                <c:pt idx="104">
                  <c:v>3714</c:v>
                </c:pt>
                <c:pt idx="105">
                  <c:v>3264</c:v>
                </c:pt>
                <c:pt idx="106">
                  <c:v>3215</c:v>
                </c:pt>
                <c:pt idx="107">
                  <c:v>1541</c:v>
                </c:pt>
                <c:pt idx="108">
                  <c:v>833</c:v>
                </c:pt>
                <c:pt idx="109">
                  <c:v>3335</c:v>
                </c:pt>
                <c:pt idx="110">
                  <c:v>3815</c:v>
                </c:pt>
                <c:pt idx="111">
                  <c:v>2950</c:v>
                </c:pt>
                <c:pt idx="112">
                  <c:v>2629</c:v>
                </c:pt>
                <c:pt idx="113">
                  <c:v>2595</c:v>
                </c:pt>
                <c:pt idx="114">
                  <c:v>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Plzeňský kraj</c:v>
                </c:pt>
                <c:pt idx="2">
                  <c:v>Jihomoravs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Hlavní město Praha</c:v>
                </c:pt>
                <c:pt idx="10">
                  <c:v>Ústecký kraj</c:v>
                </c:pt>
                <c:pt idx="11">
                  <c:v>Karlovar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0483091787429999</c:v>
                </c:pt>
                <c:pt idx="1">
                  <c:v>0.79708672086700005</c:v>
                </c:pt>
                <c:pt idx="2">
                  <c:v>0.90527105608699998</c:v>
                </c:pt>
                <c:pt idx="3">
                  <c:v>0.84279475982499996</c:v>
                </c:pt>
                <c:pt idx="4">
                  <c:v>0.87277521423799997</c:v>
                </c:pt>
                <c:pt idx="5">
                  <c:v>0.79661627069800001</c:v>
                </c:pt>
                <c:pt idx="6">
                  <c:v>0.94045215986999997</c:v>
                </c:pt>
                <c:pt idx="7">
                  <c:v>0.85453628655699998</c:v>
                </c:pt>
                <c:pt idx="8">
                  <c:v>0.82067932067899996</c:v>
                </c:pt>
                <c:pt idx="9">
                  <c:v>0.79748405386200005</c:v>
                </c:pt>
                <c:pt idx="10">
                  <c:v>0.85969935576199996</c:v>
                </c:pt>
                <c:pt idx="11">
                  <c:v>0.806620209059</c:v>
                </c:pt>
                <c:pt idx="12">
                  <c:v>0.89768745620099999</c:v>
                </c:pt>
                <c:pt idx="13">
                  <c:v>0.76016904384499995</c:v>
                </c:pt>
                <c:pt idx="14">
                  <c:v>0.79701120797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86-4351-A4DA-253E8E013FB0}"/>
            </c:ext>
          </c:extLst>
        </c:ser>
        <c:ser>
          <c:idx val="3"/>
          <c:order val="1"/>
          <c:tx>
            <c:strRef>
              <c:f>Sheet1!$D$1</c:f>
              <c:strCache>
                <c:ptCount val="1"/>
                <c:pt idx="0">
                  <c:v>R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Plzeňský kraj</c:v>
                </c:pt>
                <c:pt idx="2">
                  <c:v>Jihomoravs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Hlavní město Praha</c:v>
                </c:pt>
                <c:pt idx="10">
                  <c:v>Ústecký kraj</c:v>
                </c:pt>
                <c:pt idx="11">
                  <c:v>Karlovar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.91681415929200005</c:v>
                </c:pt>
                <c:pt idx="1">
                  <c:v>0.905829596412</c:v>
                </c:pt>
                <c:pt idx="2">
                  <c:v>0.87991071428500001</c:v>
                </c:pt>
                <c:pt idx="3">
                  <c:v>0.87725421756800004</c:v>
                </c:pt>
                <c:pt idx="4">
                  <c:v>0.87056504599200002</c:v>
                </c:pt>
                <c:pt idx="5">
                  <c:v>0.85828877005299997</c:v>
                </c:pt>
                <c:pt idx="6">
                  <c:v>0.85218648355600002</c:v>
                </c:pt>
                <c:pt idx="7">
                  <c:v>0.83304704647299999</c:v>
                </c:pt>
                <c:pt idx="8">
                  <c:v>0.82227891156400001</c:v>
                </c:pt>
                <c:pt idx="9">
                  <c:v>0.81449126413100004</c:v>
                </c:pt>
                <c:pt idx="10">
                  <c:v>0.78180938558199997</c:v>
                </c:pt>
                <c:pt idx="11">
                  <c:v>0.75263157894699995</c:v>
                </c:pt>
                <c:pt idx="12">
                  <c:v>0.73487031700200001</c:v>
                </c:pt>
                <c:pt idx="13">
                  <c:v>0.73165137614599995</c:v>
                </c:pt>
                <c:pt idx="14">
                  <c:v>0.719729043183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86-4351-A4DA-253E8E013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Plzeňský kraj</c:v>
                </c:pt>
                <c:pt idx="2">
                  <c:v>Jihomoravs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Hlavní město Praha</c:v>
                </c:pt>
                <c:pt idx="10">
                  <c:v>Ústecký kraj</c:v>
                </c:pt>
                <c:pt idx="11">
                  <c:v>Karlovar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91681415929200005</c:v>
                </c:pt>
                <c:pt idx="1">
                  <c:v>0.905829596412</c:v>
                </c:pt>
                <c:pt idx="2">
                  <c:v>0.87991071428500001</c:v>
                </c:pt>
                <c:pt idx="3">
                  <c:v>0.87725421756800004</c:v>
                </c:pt>
                <c:pt idx="4">
                  <c:v>0.87056504599200002</c:v>
                </c:pt>
                <c:pt idx="5">
                  <c:v>0.85828877005299997</c:v>
                </c:pt>
                <c:pt idx="6">
                  <c:v>0.85218648355600002</c:v>
                </c:pt>
                <c:pt idx="7">
                  <c:v>0.83304704647299999</c:v>
                </c:pt>
                <c:pt idx="8">
                  <c:v>0.82227891156400001</c:v>
                </c:pt>
                <c:pt idx="9">
                  <c:v>0.81449126413100004</c:v>
                </c:pt>
                <c:pt idx="10">
                  <c:v>0.78180938558199997</c:v>
                </c:pt>
                <c:pt idx="11">
                  <c:v>0.75263157894699995</c:v>
                </c:pt>
                <c:pt idx="12">
                  <c:v>0.73487031700200001</c:v>
                </c:pt>
                <c:pt idx="13">
                  <c:v>0.73165137614599995</c:v>
                </c:pt>
                <c:pt idx="14">
                  <c:v>0.719729043183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7_dni_100_000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09.74671919389499</c:v>
                </c:pt>
                <c:pt idx="1">
                  <c:v>569.33656066065998</c:v>
                </c:pt>
                <c:pt idx="2">
                  <c:v>418.977397688346</c:v>
                </c:pt>
                <c:pt idx="3">
                  <c:v>502.537204818237</c:v>
                </c:pt>
                <c:pt idx="4">
                  <c:v>585.16501921519102</c:v>
                </c:pt>
                <c:pt idx="5">
                  <c:v>388.07568933620598</c:v>
                </c:pt>
                <c:pt idx="6">
                  <c:v>404.86950802398297</c:v>
                </c:pt>
                <c:pt idx="7">
                  <c:v>427.87788484673399</c:v>
                </c:pt>
                <c:pt idx="8">
                  <c:v>489.80029158423599</c:v>
                </c:pt>
                <c:pt idx="9">
                  <c:v>498.771664901169</c:v>
                </c:pt>
                <c:pt idx="10">
                  <c:v>474.46433251199602</c:v>
                </c:pt>
                <c:pt idx="11">
                  <c:v>339.88357420690602</c:v>
                </c:pt>
                <c:pt idx="12">
                  <c:v>398.88184248489898</c:v>
                </c:pt>
                <c:pt idx="13">
                  <c:v>260.85522082056002</c:v>
                </c:pt>
                <c:pt idx="14">
                  <c:v>157.128118806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3F-4270-B14E-B11361DD3C4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incidence_7_dni_100_0002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62.71253358052002</c:v>
                </c:pt>
                <c:pt idx="1">
                  <c:v>370.29389069421097</c:v>
                </c:pt>
                <c:pt idx="2">
                  <c:v>335.27685260634598</c:v>
                </c:pt>
                <c:pt idx="3">
                  <c:v>381.31628655997298</c:v>
                </c:pt>
                <c:pt idx="4">
                  <c:v>349.46678603838097</c:v>
                </c:pt>
                <c:pt idx="5">
                  <c:v>297.03324923221902</c:v>
                </c:pt>
                <c:pt idx="6">
                  <c:v>263.08967616311799</c:v>
                </c:pt>
                <c:pt idx="7">
                  <c:v>273.66903813459101</c:v>
                </c:pt>
                <c:pt idx="8">
                  <c:v>330.61519681935903</c:v>
                </c:pt>
                <c:pt idx="9">
                  <c:v>276.76981676395599</c:v>
                </c:pt>
                <c:pt idx="10">
                  <c:v>241.78043968086999</c:v>
                </c:pt>
                <c:pt idx="11">
                  <c:v>205.697146442926</c:v>
                </c:pt>
                <c:pt idx="12">
                  <c:v>187.489722816956</c:v>
                </c:pt>
                <c:pt idx="13">
                  <c:v>112.39071362664799</c:v>
                </c:pt>
                <c:pt idx="14">
                  <c:v>112.6707029022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3F-4270-B14E-B11361DD3C44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incidence_7_dni_100_000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66.75592862476498</c:v>
                </c:pt>
                <c:pt idx="1">
                  <c:v>234.13131537395</c:v>
                </c:pt>
                <c:pt idx="2">
                  <c:v>209.64692293695501</c:v>
                </c:pt>
                <c:pt idx="3">
                  <c:v>200.07336023208501</c:v>
                </c:pt>
                <c:pt idx="4">
                  <c:v>196.84152186755799</c:v>
                </c:pt>
                <c:pt idx="5">
                  <c:v>196.411778376212</c:v>
                </c:pt>
                <c:pt idx="6">
                  <c:v>165.353874909919</c:v>
                </c:pt>
                <c:pt idx="7">
                  <c:v>163.26070309546299</c:v>
                </c:pt>
                <c:pt idx="8">
                  <c:v>162.629003065078</c:v>
                </c:pt>
                <c:pt idx="9">
                  <c:v>144.69562081633501</c:v>
                </c:pt>
                <c:pt idx="10">
                  <c:v>139.624774661929</c:v>
                </c:pt>
                <c:pt idx="11">
                  <c:v>119.687950481659</c:v>
                </c:pt>
                <c:pt idx="12">
                  <c:v>102.729450295728</c:v>
                </c:pt>
                <c:pt idx="13">
                  <c:v>57.826834914355999</c:v>
                </c:pt>
                <c:pt idx="14">
                  <c:v>48.52985094887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3F-4270-B14E-B11361DD3C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Kraj Vysočina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ardubic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66.75592862476498</c:v>
                </c:pt>
                <c:pt idx="1">
                  <c:v>234.13131537395</c:v>
                </c:pt>
                <c:pt idx="2">
                  <c:v>209.64692293695501</c:v>
                </c:pt>
                <c:pt idx="3">
                  <c:v>200.07336023208501</c:v>
                </c:pt>
                <c:pt idx="4">
                  <c:v>196.84152186755799</c:v>
                </c:pt>
                <c:pt idx="5">
                  <c:v>196.411778376212</c:v>
                </c:pt>
                <c:pt idx="6">
                  <c:v>165.353874909919</c:v>
                </c:pt>
                <c:pt idx="7">
                  <c:v>163.26070309546299</c:v>
                </c:pt>
                <c:pt idx="8">
                  <c:v>162.629003065078</c:v>
                </c:pt>
                <c:pt idx="9">
                  <c:v>144.69562081633501</c:v>
                </c:pt>
                <c:pt idx="10">
                  <c:v>139.624774661929</c:v>
                </c:pt>
                <c:pt idx="11">
                  <c:v>119.687950481659</c:v>
                </c:pt>
                <c:pt idx="12">
                  <c:v>102.729450295728</c:v>
                </c:pt>
                <c:pt idx="13">
                  <c:v>57.826834914355999</c:v>
                </c:pt>
                <c:pt idx="14">
                  <c:v>48.52985094887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Karlovarský kraj</c:v>
                </c:pt>
                <c:pt idx="2">
                  <c:v>Jihomoravský kraj</c:v>
                </c:pt>
                <c:pt idx="3">
                  <c:v>Jihočeský kraj</c:v>
                </c:pt>
                <c:pt idx="4">
                  <c:v>Plzeňský kraj</c:v>
                </c:pt>
                <c:pt idx="5">
                  <c:v>Královéhradec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Úst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16.822445949309042</c:v>
                </c:pt>
                <c:pt idx="1">
                  <c:v>-18.325957700974996</c:v>
                </c:pt>
                <c:pt idx="2">
                  <c:v>-19.714947033907009</c:v>
                </c:pt>
                <c:pt idx="3">
                  <c:v>-22.04684799940398</c:v>
                </c:pt>
                <c:pt idx="4">
                  <c:v>-22.207191400561996</c:v>
                </c:pt>
                <c:pt idx="5">
                  <c:v>-25.378548238275997</c:v>
                </c:pt>
                <c:pt idx="6">
                  <c:v>-38.889144793725009</c:v>
                </c:pt>
                <c:pt idx="7">
                  <c:v>-39.124966020472016</c:v>
                </c:pt>
                <c:pt idx="8">
                  <c:v>-39.418369682220003</c:v>
                </c:pt>
                <c:pt idx="9">
                  <c:v>-41.695778584146979</c:v>
                </c:pt>
                <c:pt idx="10">
                  <c:v>-43.036953236868982</c:v>
                </c:pt>
                <c:pt idx="11">
                  <c:v>-44.230133298460004</c:v>
                </c:pt>
                <c:pt idx="12">
                  <c:v>-68.304181287332995</c:v>
                </c:pt>
                <c:pt idx="13">
                  <c:v>-72.11026048613499</c:v>
                </c:pt>
                <c:pt idx="14">
                  <c:v>-73.556382438265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FD-4A91-B670-4B589312E8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8C9-4272-991A-039ADBC4DE7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Karlovarský kraj</c:v>
                </c:pt>
                <c:pt idx="2">
                  <c:v>Jihomoravský kraj</c:v>
                </c:pt>
                <c:pt idx="3">
                  <c:v>Jihočeský kraj</c:v>
                </c:pt>
                <c:pt idx="4">
                  <c:v>Plzeňský kraj</c:v>
                </c:pt>
                <c:pt idx="5">
                  <c:v>Královéhradec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Úst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-16.822445949309042</c:v>
                </c:pt>
                <c:pt idx="1">
                  <c:v>-18.325957700974996</c:v>
                </c:pt>
                <c:pt idx="2">
                  <c:v>-19.714947033907009</c:v>
                </c:pt>
                <c:pt idx="3">
                  <c:v>-22.04684799940398</c:v>
                </c:pt>
                <c:pt idx="4">
                  <c:v>-22.207191400561996</c:v>
                </c:pt>
                <c:pt idx="5">
                  <c:v>-25.378548238275997</c:v>
                </c:pt>
                <c:pt idx="6">
                  <c:v>-38.889144793725009</c:v>
                </c:pt>
                <c:pt idx="7">
                  <c:v>-39.124966020472016</c:v>
                </c:pt>
                <c:pt idx="8">
                  <c:v>-39.418369682220003</c:v>
                </c:pt>
                <c:pt idx="9">
                  <c:v>-41.695778584146979</c:v>
                </c:pt>
                <c:pt idx="10">
                  <c:v>-43.036953236868982</c:v>
                </c:pt>
                <c:pt idx="11">
                  <c:v>-44.230133298460004</c:v>
                </c:pt>
                <c:pt idx="12">
                  <c:v>-68.304181287332995</c:v>
                </c:pt>
                <c:pt idx="13">
                  <c:v>-72.11026048613499</c:v>
                </c:pt>
                <c:pt idx="14">
                  <c:v>-73.556382438265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FD-4A91-B670-4B589312E8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Karlovarský kraj</c:v>
                </c:pt>
                <c:pt idx="2">
                  <c:v>Jihomoravský kraj</c:v>
                </c:pt>
                <c:pt idx="3">
                  <c:v>Jihočeský kraj</c:v>
                </c:pt>
                <c:pt idx="4">
                  <c:v>Plzeňský kraj</c:v>
                </c:pt>
                <c:pt idx="5">
                  <c:v>Královéhradec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Úst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FD-4A91-B670-4B589312E8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_poz_epid_diag_7_dni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4019724807100001</c:v>
                </c:pt>
                <c:pt idx="1">
                  <c:v>0.26748410535799999</c:v>
                </c:pt>
                <c:pt idx="2">
                  <c:v>0.13952282157599999</c:v>
                </c:pt>
                <c:pt idx="3">
                  <c:v>0.20162012537599999</c:v>
                </c:pt>
                <c:pt idx="4">
                  <c:v>0.21522512764900001</c:v>
                </c:pt>
                <c:pt idx="5">
                  <c:v>0.17129794985300001</c:v>
                </c:pt>
                <c:pt idx="6">
                  <c:v>0.199112412499</c:v>
                </c:pt>
                <c:pt idx="7">
                  <c:v>0.18107356165999999</c:v>
                </c:pt>
                <c:pt idx="8">
                  <c:v>0.21327945833699999</c:v>
                </c:pt>
                <c:pt idx="9">
                  <c:v>0.21976011384399999</c:v>
                </c:pt>
                <c:pt idx="10">
                  <c:v>0.15225243644700001</c:v>
                </c:pt>
                <c:pt idx="11">
                  <c:v>0.19770575634000001</c:v>
                </c:pt>
                <c:pt idx="12">
                  <c:v>0.13002039535599999</c:v>
                </c:pt>
                <c:pt idx="13">
                  <c:v>0.117491014889</c:v>
                </c:pt>
                <c:pt idx="14">
                  <c:v>9.7176759409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rel_poz_epid_diag_7_dni2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3642775135300001</c:v>
                </c:pt>
                <c:pt idx="1">
                  <c:v>0.21597157600799999</c:v>
                </c:pt>
                <c:pt idx="2">
                  <c:v>0.117558483463</c:v>
                </c:pt>
                <c:pt idx="3">
                  <c:v>0.13952037086499999</c:v>
                </c:pt>
                <c:pt idx="4">
                  <c:v>0.170620363577</c:v>
                </c:pt>
                <c:pt idx="5">
                  <c:v>0.13155021834</c:v>
                </c:pt>
                <c:pt idx="6">
                  <c:v>0.137219027705</c:v>
                </c:pt>
                <c:pt idx="7">
                  <c:v>0.13109148941900001</c:v>
                </c:pt>
                <c:pt idx="8">
                  <c:v>0.153433750319</c:v>
                </c:pt>
                <c:pt idx="9">
                  <c:v>0.129883705736</c:v>
                </c:pt>
                <c:pt idx="10">
                  <c:v>0.117625792881</c:v>
                </c:pt>
                <c:pt idx="11">
                  <c:v>0.122824974411</c:v>
                </c:pt>
                <c:pt idx="12">
                  <c:v>8.4059623686000007E-2</c:v>
                </c:pt>
                <c:pt idx="13">
                  <c:v>5.7250470808999997E-2</c:v>
                </c:pt>
                <c:pt idx="14">
                  <c:v>6.0850111855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l_poz_epid_diag_7_dni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.17931769722800001</c:v>
                </c:pt>
                <c:pt idx="1">
                  <c:v>0.161322423706</c:v>
                </c:pt>
                <c:pt idx="2">
                  <c:v>0.114200279933</c:v>
                </c:pt>
                <c:pt idx="3">
                  <c:v>0.11052575564</c:v>
                </c:pt>
                <c:pt idx="4">
                  <c:v>0.104920619268</c:v>
                </c:pt>
                <c:pt idx="5">
                  <c:v>0.104244514707</c:v>
                </c:pt>
                <c:pt idx="6">
                  <c:v>0.10165516317000001</c:v>
                </c:pt>
                <c:pt idx="7">
                  <c:v>9.5438351835999996E-2</c:v>
                </c:pt>
                <c:pt idx="8">
                  <c:v>9.4642555347999993E-2</c:v>
                </c:pt>
                <c:pt idx="9">
                  <c:v>9.3105670102999999E-2</c:v>
                </c:pt>
                <c:pt idx="10">
                  <c:v>9.0117278526000003E-2</c:v>
                </c:pt>
                <c:pt idx="11">
                  <c:v>8.1531531530999998E-2</c:v>
                </c:pt>
                <c:pt idx="12">
                  <c:v>5.5538373171000001E-2</c:v>
                </c:pt>
                <c:pt idx="13">
                  <c:v>3.4672970843000001E-2</c:v>
                </c:pt>
                <c:pt idx="14">
                  <c:v>3.2242063491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_poz_epid_diag_7_dni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7931769722800001</c:v>
                </c:pt>
                <c:pt idx="1">
                  <c:v>0.161322423706</c:v>
                </c:pt>
                <c:pt idx="2">
                  <c:v>0.114200279933</c:v>
                </c:pt>
                <c:pt idx="3">
                  <c:v>0.11052575564</c:v>
                </c:pt>
                <c:pt idx="4">
                  <c:v>0.104920619268</c:v>
                </c:pt>
                <c:pt idx="5">
                  <c:v>0.104244514707</c:v>
                </c:pt>
                <c:pt idx="6">
                  <c:v>0.10165516317000001</c:v>
                </c:pt>
                <c:pt idx="7">
                  <c:v>9.5438351835999996E-2</c:v>
                </c:pt>
                <c:pt idx="8">
                  <c:v>9.4642555347999993E-2</c:v>
                </c:pt>
                <c:pt idx="9">
                  <c:v>9.3105670102999999E-2</c:v>
                </c:pt>
                <c:pt idx="10">
                  <c:v>9.0117278526000003E-2</c:v>
                </c:pt>
                <c:pt idx="11">
                  <c:v>8.1531531530999998E-2</c:v>
                </c:pt>
                <c:pt idx="12">
                  <c:v>5.5538373171000001E-2</c:v>
                </c:pt>
                <c:pt idx="13">
                  <c:v>3.4672970843000001E-2</c:v>
                </c:pt>
                <c:pt idx="14">
                  <c:v>3.2242063491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Ústecký kraj</c:v>
                </c:pt>
                <c:pt idx="4">
                  <c:v>Karlovarský kraj</c:v>
                </c:pt>
                <c:pt idx="5">
                  <c:v>Královéhradecký kraj</c:v>
                </c:pt>
                <c:pt idx="6">
                  <c:v>Moravskoslez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Olomoucký kraj</c:v>
                </c:pt>
                <c:pt idx="13">
                  <c:v>Kraj Vysočina</c:v>
                </c:pt>
                <c:pt idx="14">
                  <c:v>Liber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0483870556999994E-2</c:v>
                </c:pt>
                <c:pt idx="1">
                  <c:v>-4.1943397160000007E-3</c:v>
                </c:pt>
                <c:pt idx="2">
                  <c:v>-4.4076307189999941E-3</c:v>
                </c:pt>
                <c:pt idx="3">
                  <c:v>-9.6598215389999964E-3</c:v>
                </c:pt>
                <c:pt idx="4">
                  <c:v>-1.1666966005000001E-2</c:v>
                </c:pt>
                <c:pt idx="5">
                  <c:v>-1.1760338677999999E-2</c:v>
                </c:pt>
                <c:pt idx="6">
                  <c:v>-1.2534682783000003E-2</c:v>
                </c:pt>
                <c:pt idx="7">
                  <c:v>-1.2582171650000001E-2</c:v>
                </c:pt>
                <c:pt idx="8">
                  <c:v>-1.3073553804000007E-2</c:v>
                </c:pt>
                <c:pt idx="9">
                  <c:v>-1.3274129686999994E-2</c:v>
                </c:pt>
                <c:pt idx="10">
                  <c:v>-1.4143676399000001E-2</c:v>
                </c:pt>
                <c:pt idx="11">
                  <c:v>-1.8133687433000006E-2</c:v>
                </c:pt>
                <c:pt idx="12">
                  <c:v>-1.9046874619999987E-2</c:v>
                </c:pt>
                <c:pt idx="13">
                  <c:v>-2.9337380913000005E-2</c:v>
                </c:pt>
                <c:pt idx="14">
                  <c:v>-5.46664630300000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12-40DC-A691-E3FFCB2FBA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712-40DC-A691-E3FFCB2FBAB7}"/>
              </c:ext>
            </c:extLst>
          </c:dPt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Ústecký kraj</c:v>
                </c:pt>
                <c:pt idx="4">
                  <c:v>Karlovarský kraj</c:v>
                </c:pt>
                <c:pt idx="5">
                  <c:v>Královéhradecký kraj</c:v>
                </c:pt>
                <c:pt idx="6">
                  <c:v>Moravskoslez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Olomoucký kraj</c:v>
                </c:pt>
                <c:pt idx="13">
                  <c:v>Kraj Vysočina</c:v>
                </c:pt>
                <c:pt idx="14">
                  <c:v>Liber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</c:v>
                </c:pt>
                <c:pt idx="1">
                  <c:v>-4.1943397160000007E-3</c:v>
                </c:pt>
                <c:pt idx="2">
                  <c:v>-4.4076307189999941E-3</c:v>
                </c:pt>
                <c:pt idx="3">
                  <c:v>-9.6598215389999964E-3</c:v>
                </c:pt>
                <c:pt idx="4">
                  <c:v>-1.1666966005000001E-2</c:v>
                </c:pt>
                <c:pt idx="5">
                  <c:v>-1.1760338677999999E-2</c:v>
                </c:pt>
                <c:pt idx="6">
                  <c:v>-1.2534682783000003E-2</c:v>
                </c:pt>
                <c:pt idx="7">
                  <c:v>-1.2582171650000001E-2</c:v>
                </c:pt>
                <c:pt idx="8">
                  <c:v>-1.3073553804000007E-2</c:v>
                </c:pt>
                <c:pt idx="9">
                  <c:v>-1.3274129686999994E-2</c:v>
                </c:pt>
                <c:pt idx="10">
                  <c:v>-1.4143676399000001E-2</c:v>
                </c:pt>
                <c:pt idx="11">
                  <c:v>-1.8133687433000006E-2</c:v>
                </c:pt>
                <c:pt idx="12">
                  <c:v>-1.9046874619999987E-2</c:v>
                </c:pt>
                <c:pt idx="13">
                  <c:v>-2.9337380913000005E-2</c:v>
                </c:pt>
                <c:pt idx="14">
                  <c:v>-5.46664630300000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12-40DC-A691-E3FFCB2FBAB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Ústecký kraj</c:v>
                </c:pt>
                <c:pt idx="4">
                  <c:v>Karlovarský kraj</c:v>
                </c:pt>
                <c:pt idx="5">
                  <c:v>Královéhradecký kraj</c:v>
                </c:pt>
                <c:pt idx="6">
                  <c:v>Moravskoslez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Olomoucký kraj</c:v>
                </c:pt>
                <c:pt idx="13">
                  <c:v>Kraj Vysočina</c:v>
                </c:pt>
                <c:pt idx="14">
                  <c:v>Liber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.0483870556999994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12-40DC-A691-E3FFCB2FBA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rachatice</c:v>
                </c:pt>
                <c:pt idx="1">
                  <c:v>Vsetín</c:v>
                </c:pt>
                <c:pt idx="2">
                  <c:v>Zlín</c:v>
                </c:pt>
                <c:pt idx="3">
                  <c:v>Teplice</c:v>
                </c:pt>
                <c:pt idx="4">
                  <c:v>Písek</c:v>
                </c:pt>
                <c:pt idx="5">
                  <c:v>Jihlava</c:v>
                </c:pt>
                <c:pt idx="6">
                  <c:v>Blansko</c:v>
                </c:pt>
                <c:pt idx="7">
                  <c:v>České Budějovice</c:v>
                </c:pt>
                <c:pt idx="8">
                  <c:v>Přerov</c:v>
                </c:pt>
                <c:pt idx="9">
                  <c:v>Strakonice</c:v>
                </c:pt>
                <c:pt idx="10">
                  <c:v>Ostrava-město</c:v>
                </c:pt>
                <c:pt idx="11">
                  <c:v>Tábor</c:v>
                </c:pt>
                <c:pt idx="12">
                  <c:v>Děčín</c:v>
                </c:pt>
                <c:pt idx="13">
                  <c:v>Česká Lípa</c:v>
                </c:pt>
                <c:pt idx="14">
                  <c:v>Beroun</c:v>
                </c:pt>
                <c:pt idx="15">
                  <c:v>Uherské Hradiště</c:v>
                </c:pt>
                <c:pt idx="16">
                  <c:v>Třebíč</c:v>
                </c:pt>
                <c:pt idx="17">
                  <c:v>Olomouc</c:v>
                </c:pt>
                <c:pt idx="18">
                  <c:v>Vyškov</c:v>
                </c:pt>
                <c:pt idx="19">
                  <c:v>Most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19.74577268625598</c:v>
                </c:pt>
                <c:pt idx="1">
                  <c:v>313.95202813010098</c:v>
                </c:pt>
                <c:pt idx="2">
                  <c:v>310.98031849393601</c:v>
                </c:pt>
                <c:pt idx="3">
                  <c:v>255.67125325399701</c:v>
                </c:pt>
                <c:pt idx="4">
                  <c:v>252.839202648525</c:v>
                </c:pt>
                <c:pt idx="5">
                  <c:v>250.818460238673</c:v>
                </c:pt>
                <c:pt idx="6">
                  <c:v>244.648878463568</c:v>
                </c:pt>
                <c:pt idx="7">
                  <c:v>243.99830528373701</c:v>
                </c:pt>
                <c:pt idx="8">
                  <c:v>237.81580085242999</c:v>
                </c:pt>
                <c:pt idx="9">
                  <c:v>237.38201548635001</c:v>
                </c:pt>
                <c:pt idx="10">
                  <c:v>231.76997922816199</c:v>
                </c:pt>
                <c:pt idx="11">
                  <c:v>227.10658414152701</c:v>
                </c:pt>
                <c:pt idx="12">
                  <c:v>226.95342051226601</c:v>
                </c:pt>
                <c:pt idx="13">
                  <c:v>223.62052274927299</c:v>
                </c:pt>
                <c:pt idx="14">
                  <c:v>218.81377685202699</c:v>
                </c:pt>
                <c:pt idx="15">
                  <c:v>216.556747711388</c:v>
                </c:pt>
                <c:pt idx="16">
                  <c:v>215.68450500857301</c:v>
                </c:pt>
                <c:pt idx="17">
                  <c:v>214.88754501596699</c:v>
                </c:pt>
                <c:pt idx="18">
                  <c:v>213.48071087993</c:v>
                </c:pt>
                <c:pt idx="19">
                  <c:v>211.26508396891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Strakonice</c:v>
                </c:pt>
                <c:pt idx="1">
                  <c:v>Prachatice</c:v>
                </c:pt>
                <c:pt idx="2">
                  <c:v>Vsetín</c:v>
                </c:pt>
                <c:pt idx="3">
                  <c:v>Vyškov</c:v>
                </c:pt>
                <c:pt idx="4">
                  <c:v>Písek</c:v>
                </c:pt>
                <c:pt idx="5">
                  <c:v>Zlín</c:v>
                </c:pt>
                <c:pt idx="6">
                  <c:v>Ostrava-město</c:v>
                </c:pt>
                <c:pt idx="7">
                  <c:v>Beroun</c:v>
                </c:pt>
                <c:pt idx="8">
                  <c:v>Blansko</c:v>
                </c:pt>
                <c:pt idx="9">
                  <c:v>České Budějovice</c:v>
                </c:pt>
                <c:pt idx="10">
                  <c:v>Přerov</c:v>
                </c:pt>
                <c:pt idx="11">
                  <c:v>Tábor</c:v>
                </c:pt>
                <c:pt idx="12">
                  <c:v>Teplice</c:v>
                </c:pt>
                <c:pt idx="13">
                  <c:v>Jihlava</c:v>
                </c:pt>
                <c:pt idx="14">
                  <c:v>Uherské Hradiště</c:v>
                </c:pt>
                <c:pt idx="15">
                  <c:v>Olomouc</c:v>
                </c:pt>
                <c:pt idx="16">
                  <c:v>Česká Lípa</c:v>
                </c:pt>
                <c:pt idx="17">
                  <c:v>Třebíč</c:v>
                </c:pt>
                <c:pt idx="18">
                  <c:v>Most</c:v>
                </c:pt>
                <c:pt idx="19">
                  <c:v>Děčín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52.280562934494014</c:v>
                </c:pt>
                <c:pt idx="1">
                  <c:v>25.501196594608984</c:v>
                </c:pt>
                <c:pt idx="2">
                  <c:v>22.325477555917985</c:v>
                </c:pt>
                <c:pt idx="3">
                  <c:v>16.254876462938995</c:v>
                </c:pt>
                <c:pt idx="4">
                  <c:v>15.365918393003994</c:v>
                </c:pt>
                <c:pt idx="5">
                  <c:v>-2.6088952893790065</c:v>
                </c:pt>
                <c:pt idx="6">
                  <c:v>-17.492073904012017</c:v>
                </c:pt>
                <c:pt idx="7">
                  <c:v>-18.935807612193997</c:v>
                </c:pt>
                <c:pt idx="8">
                  <c:v>-21.074622489370995</c:v>
                </c:pt>
                <c:pt idx="9">
                  <c:v>-21.439181635809007</c:v>
                </c:pt>
                <c:pt idx="10">
                  <c:v>-24.708135153499001</c:v>
                </c:pt>
                <c:pt idx="11">
                  <c:v>-25.342365612359004</c:v>
                </c:pt>
                <c:pt idx="12">
                  <c:v>-42.611875542332996</c:v>
                </c:pt>
                <c:pt idx="13">
                  <c:v>-44.003238638364024</c:v>
                </c:pt>
                <c:pt idx="14">
                  <c:v>-55.545399575324012</c:v>
                </c:pt>
                <c:pt idx="15">
                  <c:v>-60.729088808861007</c:v>
                </c:pt>
                <c:pt idx="16">
                  <c:v>-60.987415295256994</c:v>
                </c:pt>
                <c:pt idx="17">
                  <c:v>-70.39075895677297</c:v>
                </c:pt>
                <c:pt idx="18">
                  <c:v>-90.414294410428028</c:v>
                </c:pt>
                <c:pt idx="19">
                  <c:v>-98.03770205801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2A-4CFB-8526-F358736048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Strakonice</c:v>
                </c:pt>
                <c:pt idx="1">
                  <c:v>Prachatice</c:v>
                </c:pt>
                <c:pt idx="2">
                  <c:v>Vsetín</c:v>
                </c:pt>
                <c:pt idx="3">
                  <c:v>Vyškov</c:v>
                </c:pt>
                <c:pt idx="4">
                  <c:v>Písek</c:v>
                </c:pt>
                <c:pt idx="5">
                  <c:v>Zlín</c:v>
                </c:pt>
                <c:pt idx="6">
                  <c:v>Ostrava-město</c:v>
                </c:pt>
                <c:pt idx="7">
                  <c:v>Beroun</c:v>
                </c:pt>
                <c:pt idx="8">
                  <c:v>Blansko</c:v>
                </c:pt>
                <c:pt idx="9">
                  <c:v>České Budějovice</c:v>
                </c:pt>
                <c:pt idx="10">
                  <c:v>Přerov</c:v>
                </c:pt>
                <c:pt idx="11">
                  <c:v>Tábor</c:v>
                </c:pt>
                <c:pt idx="12">
                  <c:v>Teplice</c:v>
                </c:pt>
                <c:pt idx="13">
                  <c:v>Jihlava</c:v>
                </c:pt>
                <c:pt idx="14">
                  <c:v>Uherské Hradiště</c:v>
                </c:pt>
                <c:pt idx="15">
                  <c:v>Olomouc</c:v>
                </c:pt>
                <c:pt idx="16">
                  <c:v>Česká Lípa</c:v>
                </c:pt>
                <c:pt idx="17">
                  <c:v>Třebíč</c:v>
                </c:pt>
                <c:pt idx="18">
                  <c:v>Most</c:v>
                </c:pt>
                <c:pt idx="19">
                  <c:v>Děčín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-2.6088952893790065</c:v>
                </c:pt>
                <c:pt idx="6">
                  <c:v>-17.492073904012017</c:v>
                </c:pt>
                <c:pt idx="7">
                  <c:v>-18.935807612193997</c:v>
                </c:pt>
                <c:pt idx="8">
                  <c:v>-21.074622489370995</c:v>
                </c:pt>
                <c:pt idx="9">
                  <c:v>-21.439181635809007</c:v>
                </c:pt>
                <c:pt idx="10">
                  <c:v>-24.708135153499001</c:v>
                </c:pt>
                <c:pt idx="11">
                  <c:v>-25.342365612359004</c:v>
                </c:pt>
                <c:pt idx="12">
                  <c:v>-42.611875542332996</c:v>
                </c:pt>
                <c:pt idx="13">
                  <c:v>-44.003238638364024</c:v>
                </c:pt>
                <c:pt idx="14">
                  <c:v>-55.545399575324012</c:v>
                </c:pt>
                <c:pt idx="15">
                  <c:v>-60.729088808861007</c:v>
                </c:pt>
                <c:pt idx="16">
                  <c:v>-60.987415295256994</c:v>
                </c:pt>
                <c:pt idx="17">
                  <c:v>-70.39075895677297</c:v>
                </c:pt>
                <c:pt idx="18">
                  <c:v>-90.414294410428028</c:v>
                </c:pt>
                <c:pt idx="19">
                  <c:v>-98.03770205801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2A-4CFB-8526-F358736048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Strakonice</c:v>
                </c:pt>
                <c:pt idx="1">
                  <c:v>Prachatice</c:v>
                </c:pt>
                <c:pt idx="2">
                  <c:v>Vsetín</c:v>
                </c:pt>
                <c:pt idx="3">
                  <c:v>Vyškov</c:v>
                </c:pt>
                <c:pt idx="4">
                  <c:v>Písek</c:v>
                </c:pt>
                <c:pt idx="5">
                  <c:v>Zlín</c:v>
                </c:pt>
                <c:pt idx="6">
                  <c:v>Ostrava-město</c:v>
                </c:pt>
                <c:pt idx="7">
                  <c:v>Beroun</c:v>
                </c:pt>
                <c:pt idx="8">
                  <c:v>Blansko</c:v>
                </c:pt>
                <c:pt idx="9">
                  <c:v>České Budějovice</c:v>
                </c:pt>
                <c:pt idx="10">
                  <c:v>Přerov</c:v>
                </c:pt>
                <c:pt idx="11">
                  <c:v>Tábor</c:v>
                </c:pt>
                <c:pt idx="12">
                  <c:v>Teplice</c:v>
                </c:pt>
                <c:pt idx="13">
                  <c:v>Jihlava</c:v>
                </c:pt>
                <c:pt idx="14">
                  <c:v>Uherské Hradiště</c:v>
                </c:pt>
                <c:pt idx="15">
                  <c:v>Olomouc</c:v>
                </c:pt>
                <c:pt idx="16">
                  <c:v>Česká Lípa</c:v>
                </c:pt>
                <c:pt idx="17">
                  <c:v>Třebíč</c:v>
                </c:pt>
                <c:pt idx="18">
                  <c:v>Most</c:v>
                </c:pt>
                <c:pt idx="19">
                  <c:v>Děčín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52.280562934494014</c:v>
                </c:pt>
                <c:pt idx="1">
                  <c:v>25.501196594608984</c:v>
                </c:pt>
                <c:pt idx="2">
                  <c:v>22.325477555917985</c:v>
                </c:pt>
                <c:pt idx="3">
                  <c:v>16.254876462938995</c:v>
                </c:pt>
                <c:pt idx="4">
                  <c:v>15.365918393003994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2A-4CFB-8526-F358736048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2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11.80738400327655</c:v>
                </c:pt>
                <c:pt idx="1">
                  <c:v>289.04101573927795</c:v>
                </c:pt>
                <c:pt idx="2">
                  <c:v>237.25937627991337</c:v>
                </c:pt>
                <c:pt idx="3">
                  <c:v>216.19565853373118</c:v>
                </c:pt>
                <c:pt idx="4">
                  <c:v>208.0042127435492</c:v>
                </c:pt>
                <c:pt idx="5">
                  <c:v>236.96682464454972</c:v>
                </c:pt>
                <c:pt idx="6">
                  <c:v>246.62102861154989</c:v>
                </c:pt>
                <c:pt idx="7">
                  <c:v>307.17921713182369</c:v>
                </c:pt>
                <c:pt idx="8">
                  <c:v>393.77450119946161</c:v>
                </c:pt>
                <c:pt idx="9">
                  <c:v>430.6360072552805</c:v>
                </c:pt>
                <c:pt idx="10">
                  <c:v>384.12029723246144</c:v>
                </c:pt>
                <c:pt idx="11">
                  <c:v>344.62582645836983</c:v>
                </c:pt>
                <c:pt idx="12">
                  <c:v>284.65274120882333</c:v>
                </c:pt>
                <c:pt idx="13">
                  <c:v>203.32338657773093</c:v>
                </c:pt>
                <c:pt idx="14">
                  <c:v>160.90339945000289</c:v>
                </c:pt>
                <c:pt idx="15">
                  <c:v>153.29705693054822</c:v>
                </c:pt>
                <c:pt idx="16">
                  <c:v>106.78134690772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–5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254.90958813683199</c:v>
                </c:pt>
                <c:pt idx="1">
                  <c:v>359.52566188084973</c:v>
                </c:pt>
                <c:pt idx="2">
                  <c:v>447.34422519272943</c:v>
                </c:pt>
                <c:pt idx="3">
                  <c:v>436.73527123558961</c:v>
                </c:pt>
                <c:pt idx="4">
                  <c:v>428.7785557677347</c:v>
                </c:pt>
                <c:pt idx="5">
                  <c:v>483.2967913808144</c:v>
                </c:pt>
                <c:pt idx="6">
                  <c:v>501.86246080580906</c:v>
                </c:pt>
                <c:pt idx="7">
                  <c:v>640.66294174505515</c:v>
                </c:pt>
                <c:pt idx="8">
                  <c:v>793.9033877926305</c:v>
                </c:pt>
                <c:pt idx="9">
                  <c:v>667.77471296885699</c:v>
                </c:pt>
                <c:pt idx="10">
                  <c:v>464.73112195581967</c:v>
                </c:pt>
                <c:pt idx="11">
                  <c:v>358.64158238442138</c:v>
                </c:pt>
                <c:pt idx="12">
                  <c:v>292.04092698682138</c:v>
                </c:pt>
                <c:pt idx="13">
                  <c:v>212.76846547374876</c:v>
                </c:pt>
                <c:pt idx="14">
                  <c:v>163.554706839239</c:v>
                </c:pt>
                <c:pt idx="15">
                  <c:v>152.06167338567087</c:v>
                </c:pt>
                <c:pt idx="16">
                  <c:v>129.95968597496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6–10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372.14934127996321</c:v>
                </c:pt>
                <c:pt idx="1">
                  <c:v>475.26244990465062</c:v>
                </c:pt>
                <c:pt idx="2">
                  <c:v>403.55434898291367</c:v>
                </c:pt>
                <c:pt idx="3">
                  <c:v>375.28984205025824</c:v>
                </c:pt>
                <c:pt idx="4">
                  <c:v>358.19156007865189</c:v>
                </c:pt>
                <c:pt idx="5">
                  <c:v>390.81787363671708</c:v>
                </c:pt>
                <c:pt idx="6">
                  <c:v>423.79313172481511</c:v>
                </c:pt>
                <c:pt idx="7">
                  <c:v>546.44713403133835</c:v>
                </c:pt>
                <c:pt idx="8">
                  <c:v>658.10938364182903</c:v>
                </c:pt>
                <c:pt idx="9">
                  <c:v>627.57673726396047</c:v>
                </c:pt>
                <c:pt idx="10">
                  <c:v>503.70142910232244</c:v>
                </c:pt>
                <c:pt idx="11">
                  <c:v>421.87393680963481</c:v>
                </c:pt>
                <c:pt idx="12">
                  <c:v>329.40363635094729</c:v>
                </c:pt>
                <c:pt idx="13">
                  <c:v>236.40991909721058</c:v>
                </c:pt>
                <c:pt idx="14">
                  <c:v>177.26382125665384</c:v>
                </c:pt>
                <c:pt idx="15">
                  <c:v>188.25557395268649</c:v>
                </c:pt>
                <c:pt idx="16">
                  <c:v>160.51448381508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11–1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00.99914672211975</c:v>
                </c:pt>
                <c:pt idx="1">
                  <c:v>622.08125223464606</c:v>
                </c:pt>
                <c:pt idx="2">
                  <c:v>410.40691922814625</c:v>
                </c:pt>
                <c:pt idx="3">
                  <c:v>338.24022952955721</c:v>
                </c:pt>
                <c:pt idx="4">
                  <c:v>344.60142710177325</c:v>
                </c:pt>
                <c:pt idx="5">
                  <c:v>353.81419599946548</c:v>
                </c:pt>
                <c:pt idx="6">
                  <c:v>376.40741496285352</c:v>
                </c:pt>
                <c:pt idx="7">
                  <c:v>478.84463103957415</c:v>
                </c:pt>
                <c:pt idx="8">
                  <c:v>627.34569160475587</c:v>
                </c:pt>
                <c:pt idx="9">
                  <c:v>624.27476863885852</c:v>
                </c:pt>
                <c:pt idx="10">
                  <c:v>611.77172513484754</c:v>
                </c:pt>
                <c:pt idx="11">
                  <c:v>525.12782716845652</c:v>
                </c:pt>
                <c:pt idx="12">
                  <c:v>387.81370026475815</c:v>
                </c:pt>
                <c:pt idx="13">
                  <c:v>290.64092355814739</c:v>
                </c:pt>
                <c:pt idx="14">
                  <c:v>226.15154127430185</c:v>
                </c:pt>
                <c:pt idx="15">
                  <c:v>200.26804770459515</c:v>
                </c:pt>
                <c:pt idx="16">
                  <c:v>147.84300564391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15–19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76.53285358659502</c:v>
                </c:pt>
                <c:pt idx="1">
                  <c:v>742.63121561408286</c:v>
                </c:pt>
                <c:pt idx="2">
                  <c:v>471.51852394201205</c:v>
                </c:pt>
                <c:pt idx="3">
                  <c:v>361.69278078781673</c:v>
                </c:pt>
                <c:pt idx="4">
                  <c:v>353.74348890237019</c:v>
                </c:pt>
                <c:pt idx="5">
                  <c:v>380.10166725937705</c:v>
                </c:pt>
                <c:pt idx="6">
                  <c:v>399.76570508127111</c:v>
                </c:pt>
                <c:pt idx="7">
                  <c:v>496.20316716524076</c:v>
                </c:pt>
                <c:pt idx="8">
                  <c:v>634.68819948538805</c:v>
                </c:pt>
                <c:pt idx="9">
                  <c:v>701.42041294479429</c:v>
                </c:pt>
                <c:pt idx="10">
                  <c:v>669.41405351128594</c:v>
                </c:pt>
                <c:pt idx="11">
                  <c:v>575.90527791142824</c:v>
                </c:pt>
                <c:pt idx="12">
                  <c:v>450.59933476978438</c:v>
                </c:pt>
                <c:pt idx="13">
                  <c:v>325.08419973641827</c:v>
                </c:pt>
                <c:pt idx="14">
                  <c:v>252.49461330878819</c:v>
                </c:pt>
                <c:pt idx="15">
                  <c:v>219.6514863083907</c:v>
                </c:pt>
                <c:pt idx="16">
                  <c:v>164.63401878543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643.41118833762255</c:v>
                </c:pt>
                <c:pt idx="1">
                  <c:v>834.73451643964495</c:v>
                </c:pt>
                <c:pt idx="2">
                  <c:v>533.93796242900191</c:v>
                </c:pt>
                <c:pt idx="3">
                  <c:v>443.56901605666837</c:v>
                </c:pt>
                <c:pt idx="4">
                  <c:v>432.29159994273687</c:v>
                </c:pt>
                <c:pt idx="5">
                  <c:v>456.77275697944725</c:v>
                </c:pt>
                <c:pt idx="6">
                  <c:v>479.55201539863231</c:v>
                </c:pt>
                <c:pt idx="7">
                  <c:v>582.01192282843976</c:v>
                </c:pt>
                <c:pt idx="8">
                  <c:v>730.25477328793932</c:v>
                </c:pt>
                <c:pt idx="9">
                  <c:v>755.99832765083613</c:v>
                </c:pt>
                <c:pt idx="10">
                  <c:v>682.7231761841964</c:v>
                </c:pt>
                <c:pt idx="11">
                  <c:v>582.78806340676169</c:v>
                </c:pt>
                <c:pt idx="12">
                  <c:v>445.28026576549877</c:v>
                </c:pt>
                <c:pt idx="13">
                  <c:v>329.15841393896335</c:v>
                </c:pt>
                <c:pt idx="14">
                  <c:v>252.9750730764425</c:v>
                </c:pt>
                <c:pt idx="15">
                  <c:v>194.1941131326833</c:v>
                </c:pt>
                <c:pt idx="16">
                  <c:v>156.04166060793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Vyškov</c:v>
                </c:pt>
                <c:pt idx="1">
                  <c:v>Prachatice</c:v>
                </c:pt>
                <c:pt idx="2">
                  <c:v>Zlín</c:v>
                </c:pt>
                <c:pt idx="3">
                  <c:v>Vsetín</c:v>
                </c:pt>
                <c:pt idx="4">
                  <c:v>Tábor</c:v>
                </c:pt>
                <c:pt idx="5">
                  <c:v>Přerov</c:v>
                </c:pt>
                <c:pt idx="6">
                  <c:v>Ostrava-město</c:v>
                </c:pt>
                <c:pt idx="7">
                  <c:v>České Budějovice</c:v>
                </c:pt>
                <c:pt idx="8">
                  <c:v>Beroun</c:v>
                </c:pt>
                <c:pt idx="9">
                  <c:v>Teplice</c:v>
                </c:pt>
                <c:pt idx="10">
                  <c:v>Písek</c:v>
                </c:pt>
                <c:pt idx="11">
                  <c:v>Česká Lípa</c:v>
                </c:pt>
                <c:pt idx="12">
                  <c:v>Strakonice</c:v>
                </c:pt>
                <c:pt idx="13">
                  <c:v>Jihlava</c:v>
                </c:pt>
                <c:pt idx="14">
                  <c:v>Uherské Hradiště</c:v>
                </c:pt>
                <c:pt idx="15">
                  <c:v>Olomouc</c:v>
                </c:pt>
                <c:pt idx="16">
                  <c:v>Blansko</c:v>
                </c:pt>
                <c:pt idx="17">
                  <c:v>Děčín</c:v>
                </c:pt>
                <c:pt idx="18">
                  <c:v>Most</c:v>
                </c:pt>
                <c:pt idx="19">
                  <c:v>Třebíč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.0478723404250001</c:v>
                </c:pt>
                <c:pt idx="1">
                  <c:v>1.03164556962</c:v>
                </c:pt>
                <c:pt idx="2">
                  <c:v>0.98026315789399998</c:v>
                </c:pt>
                <c:pt idx="3">
                  <c:v>0.97826086956500002</c:v>
                </c:pt>
                <c:pt idx="4">
                  <c:v>0.96680497925300002</c:v>
                </c:pt>
                <c:pt idx="5">
                  <c:v>0.96250000000000002</c:v>
                </c:pt>
                <c:pt idx="6">
                  <c:v>0.93216080402000001</c:v>
                </c:pt>
                <c:pt idx="7">
                  <c:v>0.91746641074799995</c:v>
                </c:pt>
                <c:pt idx="8">
                  <c:v>0.912280701754</c:v>
                </c:pt>
                <c:pt idx="9">
                  <c:v>0.896739130434</c:v>
                </c:pt>
                <c:pt idx="10">
                  <c:v>0.89162561576300003</c:v>
                </c:pt>
                <c:pt idx="11">
                  <c:v>0.88846153846099996</c:v>
                </c:pt>
                <c:pt idx="12">
                  <c:v>0.87958115183200003</c:v>
                </c:pt>
                <c:pt idx="13">
                  <c:v>0.83333333333299997</c:v>
                </c:pt>
                <c:pt idx="14">
                  <c:v>0.79792746113900004</c:v>
                </c:pt>
                <c:pt idx="15">
                  <c:v>0.79310344827500001</c:v>
                </c:pt>
                <c:pt idx="16">
                  <c:v>0.78994082840199997</c:v>
                </c:pt>
                <c:pt idx="17">
                  <c:v>0.769633507853</c:v>
                </c:pt>
                <c:pt idx="18">
                  <c:v>0.74213836477899997</c:v>
                </c:pt>
                <c:pt idx="19">
                  <c:v>0.700879765394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řerov</c:v>
                </c:pt>
                <c:pt idx="1">
                  <c:v>Prachatice</c:v>
                </c:pt>
                <c:pt idx="2">
                  <c:v>Č. Budějovice</c:v>
                </c:pt>
                <c:pt idx="3">
                  <c:v>Beroun</c:v>
                </c:pt>
                <c:pt idx="4">
                  <c:v>Vsetín</c:v>
                </c:pt>
                <c:pt idx="5">
                  <c:v>Strakonice</c:v>
                </c:pt>
                <c:pt idx="6">
                  <c:v>Blansko</c:v>
                </c:pt>
                <c:pt idx="7">
                  <c:v>Písek</c:v>
                </c:pt>
                <c:pt idx="8">
                  <c:v>Olomouc</c:v>
                </c:pt>
                <c:pt idx="9">
                  <c:v>Tábor</c:v>
                </c:pt>
                <c:pt idx="10">
                  <c:v>Vyškov</c:v>
                </c:pt>
                <c:pt idx="11">
                  <c:v>Děčín</c:v>
                </c:pt>
                <c:pt idx="12">
                  <c:v>Česká Lípa</c:v>
                </c:pt>
                <c:pt idx="13">
                  <c:v>Teplice</c:v>
                </c:pt>
                <c:pt idx="14">
                  <c:v>Ostrava-město</c:v>
                </c:pt>
                <c:pt idx="15">
                  <c:v>Jihlava</c:v>
                </c:pt>
                <c:pt idx="16">
                  <c:v>Zlín</c:v>
                </c:pt>
                <c:pt idx="17">
                  <c:v>Třebíč</c:v>
                </c:pt>
                <c:pt idx="18">
                  <c:v>Most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.25771971496399998</c:v>
                </c:pt>
                <c:pt idx="1">
                  <c:v>0.205692108667</c:v>
                </c:pt>
                <c:pt idx="2">
                  <c:v>0.18068410462699999</c:v>
                </c:pt>
                <c:pt idx="3">
                  <c:v>0.17520775623199999</c:v>
                </c:pt>
                <c:pt idx="4">
                  <c:v>0.17466216216200001</c:v>
                </c:pt>
                <c:pt idx="5">
                  <c:v>0.17090069284000001</c:v>
                </c:pt>
                <c:pt idx="6">
                  <c:v>0.16720674011600001</c:v>
                </c:pt>
                <c:pt idx="7">
                  <c:v>0.16603053435099999</c:v>
                </c:pt>
                <c:pt idx="8">
                  <c:v>0.15872657484700001</c:v>
                </c:pt>
                <c:pt idx="9">
                  <c:v>0.15807327001300001</c:v>
                </c:pt>
                <c:pt idx="10">
                  <c:v>0.13405797101399999</c:v>
                </c:pt>
                <c:pt idx="11">
                  <c:v>0.13176826959400001</c:v>
                </c:pt>
                <c:pt idx="12">
                  <c:v>0.13111668757799999</c:v>
                </c:pt>
                <c:pt idx="13">
                  <c:v>0.11341026661299999</c:v>
                </c:pt>
                <c:pt idx="14">
                  <c:v>0.10676156583599999</c:v>
                </c:pt>
                <c:pt idx="15">
                  <c:v>0.10294117647000001</c:v>
                </c:pt>
                <c:pt idx="16">
                  <c:v>0.100142608144</c:v>
                </c:pt>
                <c:pt idx="17">
                  <c:v>8.9089481945999999E-2</c:v>
                </c:pt>
                <c:pt idx="18">
                  <c:v>8.4260731318999998E-2</c:v>
                </c:pt>
                <c:pt idx="19">
                  <c:v>7.9509968772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25-445E-AAFF-10FA879A62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Děčín</c:v>
                </c:pt>
                <c:pt idx="2">
                  <c:v>Strakonice</c:v>
                </c:pt>
                <c:pt idx="3">
                  <c:v>Zlín</c:v>
                </c:pt>
                <c:pt idx="4">
                  <c:v>Vyškov</c:v>
                </c:pt>
                <c:pt idx="5">
                  <c:v>Uherské Hradiště</c:v>
                </c:pt>
                <c:pt idx="6">
                  <c:v>Tábor</c:v>
                </c:pt>
                <c:pt idx="7">
                  <c:v>Teplice</c:v>
                </c:pt>
                <c:pt idx="8">
                  <c:v>Ostrava-město</c:v>
                </c:pt>
                <c:pt idx="9">
                  <c:v>Přerov</c:v>
                </c:pt>
                <c:pt idx="10">
                  <c:v>České Budějovice</c:v>
                </c:pt>
                <c:pt idx="11">
                  <c:v>Blansko</c:v>
                </c:pt>
                <c:pt idx="12">
                  <c:v>Prachatice</c:v>
                </c:pt>
                <c:pt idx="13">
                  <c:v>Beroun</c:v>
                </c:pt>
                <c:pt idx="14">
                  <c:v>Česká Lípa</c:v>
                </c:pt>
                <c:pt idx="15">
                  <c:v>Písek</c:v>
                </c:pt>
                <c:pt idx="16">
                  <c:v>Jihlava</c:v>
                </c:pt>
                <c:pt idx="17">
                  <c:v>Třebíč</c:v>
                </c:pt>
                <c:pt idx="18">
                  <c:v>Most</c:v>
                </c:pt>
                <c:pt idx="19">
                  <c:v>Olomouc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.1761117295000002E-2</c:v>
                </c:pt>
                <c:pt idx="1">
                  <c:v>2.1160065917000009E-2</c:v>
                </c:pt>
                <c:pt idx="2">
                  <c:v>1.9168315302E-2</c:v>
                </c:pt>
                <c:pt idx="3">
                  <c:v>8.3480390770000051E-3</c:v>
                </c:pt>
                <c:pt idx="4">
                  <c:v>5.1215479600000002E-3</c:v>
                </c:pt>
                <c:pt idx="5">
                  <c:v>3.1207531500000718E-4</c:v>
                </c:pt>
                <c:pt idx="6">
                  <c:v>-2.5196886030000032E-3</c:v>
                </c:pt>
                <c:pt idx="7">
                  <c:v>-2.852466088000008E-3</c:v>
                </c:pt>
                <c:pt idx="8">
                  <c:v>-3.668736350000007E-3</c:v>
                </c:pt>
                <c:pt idx="9">
                  <c:v>-5.382455496000027E-3</c:v>
                </c:pt>
                <c:pt idx="10">
                  <c:v>-7.3593736330000159E-3</c:v>
                </c:pt>
                <c:pt idx="11">
                  <c:v>-8.312890367999981E-3</c:v>
                </c:pt>
                <c:pt idx="12">
                  <c:v>-1.1021772351999998E-2</c:v>
                </c:pt>
                <c:pt idx="13">
                  <c:v>-1.1501104527000011E-2</c:v>
                </c:pt>
                <c:pt idx="14">
                  <c:v>-1.4280801961000011E-2</c:v>
                </c:pt>
                <c:pt idx="15">
                  <c:v>-1.4789800715000023E-2</c:v>
                </c:pt>
                <c:pt idx="16">
                  <c:v>-1.9562663774999989E-2</c:v>
                </c:pt>
                <c:pt idx="17">
                  <c:v>-2.4436183097000005E-2</c:v>
                </c:pt>
                <c:pt idx="18">
                  <c:v>-2.4509690005000001E-2</c:v>
                </c:pt>
                <c:pt idx="19">
                  <c:v>-3.1116453776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88-414C-96F0-5C31EB4C16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Děčín</c:v>
                </c:pt>
                <c:pt idx="2">
                  <c:v>Strakonice</c:v>
                </c:pt>
                <c:pt idx="3">
                  <c:v>Zlín</c:v>
                </c:pt>
                <c:pt idx="4">
                  <c:v>Vyškov</c:v>
                </c:pt>
                <c:pt idx="5">
                  <c:v>Uherské Hradiště</c:v>
                </c:pt>
                <c:pt idx="6">
                  <c:v>Tábor</c:v>
                </c:pt>
                <c:pt idx="7">
                  <c:v>Teplice</c:v>
                </c:pt>
                <c:pt idx="8">
                  <c:v>Ostrava-město</c:v>
                </c:pt>
                <c:pt idx="9">
                  <c:v>Přerov</c:v>
                </c:pt>
                <c:pt idx="10">
                  <c:v>České Budějovice</c:v>
                </c:pt>
                <c:pt idx="11">
                  <c:v>Blansko</c:v>
                </c:pt>
                <c:pt idx="12">
                  <c:v>Prachatice</c:v>
                </c:pt>
                <c:pt idx="13">
                  <c:v>Beroun</c:v>
                </c:pt>
                <c:pt idx="14">
                  <c:v>Česká Lípa</c:v>
                </c:pt>
                <c:pt idx="15">
                  <c:v>Písek</c:v>
                </c:pt>
                <c:pt idx="16">
                  <c:v>Jihlava</c:v>
                </c:pt>
                <c:pt idx="17">
                  <c:v>Třebíč</c:v>
                </c:pt>
                <c:pt idx="18">
                  <c:v>Most</c:v>
                </c:pt>
                <c:pt idx="19">
                  <c:v>Olomouc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2.5196886030000032E-3</c:v>
                </c:pt>
                <c:pt idx="7">
                  <c:v>-2.852466088000008E-3</c:v>
                </c:pt>
                <c:pt idx="8">
                  <c:v>-3.668736350000007E-3</c:v>
                </c:pt>
                <c:pt idx="9">
                  <c:v>-5.382455496000027E-3</c:v>
                </c:pt>
                <c:pt idx="10">
                  <c:v>-7.3593736330000159E-3</c:v>
                </c:pt>
                <c:pt idx="11">
                  <c:v>-8.312890367999981E-3</c:v>
                </c:pt>
                <c:pt idx="12">
                  <c:v>-1.1021772351999998E-2</c:v>
                </c:pt>
                <c:pt idx="13">
                  <c:v>-1.1501104527000011E-2</c:v>
                </c:pt>
                <c:pt idx="14">
                  <c:v>-1.4280801961000011E-2</c:v>
                </c:pt>
                <c:pt idx="15">
                  <c:v>-1.4789800715000023E-2</c:v>
                </c:pt>
                <c:pt idx="16">
                  <c:v>-1.9562663774999989E-2</c:v>
                </c:pt>
                <c:pt idx="17">
                  <c:v>-2.4436183097000005E-2</c:v>
                </c:pt>
                <c:pt idx="18">
                  <c:v>-2.4509690005000001E-2</c:v>
                </c:pt>
                <c:pt idx="19">
                  <c:v>-3.1116453776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88-414C-96F0-5C31EB4C16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Děčín</c:v>
                </c:pt>
                <c:pt idx="2">
                  <c:v>Strakonice</c:v>
                </c:pt>
                <c:pt idx="3">
                  <c:v>Zlín</c:v>
                </c:pt>
                <c:pt idx="4">
                  <c:v>Vyškov</c:v>
                </c:pt>
                <c:pt idx="5">
                  <c:v>Uherské Hradiště</c:v>
                </c:pt>
                <c:pt idx="6">
                  <c:v>Tábor</c:v>
                </c:pt>
                <c:pt idx="7">
                  <c:v>Teplice</c:v>
                </c:pt>
                <c:pt idx="8">
                  <c:v>Ostrava-město</c:v>
                </c:pt>
                <c:pt idx="9">
                  <c:v>Přerov</c:v>
                </c:pt>
                <c:pt idx="10">
                  <c:v>České Budějovice</c:v>
                </c:pt>
                <c:pt idx="11">
                  <c:v>Blansko</c:v>
                </c:pt>
                <c:pt idx="12">
                  <c:v>Prachatice</c:v>
                </c:pt>
                <c:pt idx="13">
                  <c:v>Beroun</c:v>
                </c:pt>
                <c:pt idx="14">
                  <c:v>Česká Lípa</c:v>
                </c:pt>
                <c:pt idx="15">
                  <c:v>Písek</c:v>
                </c:pt>
                <c:pt idx="16">
                  <c:v>Jihlava</c:v>
                </c:pt>
                <c:pt idx="17">
                  <c:v>Třebíč</c:v>
                </c:pt>
                <c:pt idx="18">
                  <c:v>Most</c:v>
                </c:pt>
                <c:pt idx="19">
                  <c:v>Olomouc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3.1761117295000002E-2</c:v>
                </c:pt>
                <c:pt idx="1">
                  <c:v>2.1160065917000009E-2</c:v>
                </c:pt>
                <c:pt idx="2">
                  <c:v>1.9168315302E-2</c:v>
                </c:pt>
                <c:pt idx="3">
                  <c:v>8.3480390770000051E-3</c:v>
                </c:pt>
                <c:pt idx="4">
                  <c:v>5.1215479600000002E-3</c:v>
                </c:pt>
                <c:pt idx="5">
                  <c:v>3.1207531500000718E-4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88-414C-96F0-5C31EB4C1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Trutnov</c:v>
                </c:pt>
                <c:pt idx="1">
                  <c:v>Příbram</c:v>
                </c:pt>
                <c:pt idx="2">
                  <c:v>Plzeň-sever</c:v>
                </c:pt>
                <c:pt idx="3">
                  <c:v>Jeseník</c:v>
                </c:pt>
                <c:pt idx="4">
                  <c:v>Břeclav</c:v>
                </c:pt>
                <c:pt idx="5">
                  <c:v>Vyškov</c:v>
                </c:pt>
                <c:pt idx="6">
                  <c:v>Plzeň-jih</c:v>
                </c:pt>
                <c:pt idx="7">
                  <c:v>Prachatice</c:v>
                </c:pt>
                <c:pt idx="8">
                  <c:v>Tachov</c:v>
                </c:pt>
                <c:pt idx="9">
                  <c:v>Zlín</c:v>
                </c:pt>
                <c:pt idx="10">
                  <c:v>Vsetín</c:v>
                </c:pt>
                <c:pt idx="11">
                  <c:v>Tábor</c:v>
                </c:pt>
                <c:pt idx="12">
                  <c:v>Přerov</c:v>
                </c:pt>
                <c:pt idx="13">
                  <c:v>Znojmo</c:v>
                </c:pt>
                <c:pt idx="14">
                  <c:v>Plzeň-město</c:v>
                </c:pt>
                <c:pt idx="15">
                  <c:v>Karlovy Vary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1.3157894736839999</c:v>
                </c:pt>
                <c:pt idx="1">
                  <c:v>1.180555555555</c:v>
                </c:pt>
                <c:pt idx="2">
                  <c:v>1.098765432098</c:v>
                </c:pt>
                <c:pt idx="3">
                  <c:v>1.0845070422530001</c:v>
                </c:pt>
                <c:pt idx="4">
                  <c:v>1.0625</c:v>
                </c:pt>
                <c:pt idx="5">
                  <c:v>1.0478723404250001</c:v>
                </c:pt>
                <c:pt idx="6">
                  <c:v>1.031914893617</c:v>
                </c:pt>
                <c:pt idx="7">
                  <c:v>1.03164556962</c:v>
                </c:pt>
                <c:pt idx="8">
                  <c:v>1</c:v>
                </c:pt>
                <c:pt idx="9">
                  <c:v>0.98026315789399998</c:v>
                </c:pt>
                <c:pt idx="10">
                  <c:v>0.97826086956500002</c:v>
                </c:pt>
                <c:pt idx="11">
                  <c:v>0.96680497925300002</c:v>
                </c:pt>
                <c:pt idx="12">
                  <c:v>0.96250000000000002</c:v>
                </c:pt>
                <c:pt idx="13">
                  <c:v>0.95983935742899995</c:v>
                </c:pt>
                <c:pt idx="14">
                  <c:v>0.95022624434299996</c:v>
                </c:pt>
                <c:pt idx="15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Prachatice</c:v>
                </c:pt>
                <c:pt idx="1">
                  <c:v>Vsetín</c:v>
                </c:pt>
                <c:pt idx="2">
                  <c:v>Zlín</c:v>
                </c:pt>
                <c:pt idx="3">
                  <c:v>Přerov</c:v>
                </c:pt>
                <c:pt idx="4">
                  <c:v>Tábor</c:v>
                </c:pt>
                <c:pt idx="5">
                  <c:v>Vyškov</c:v>
                </c:pt>
                <c:pt idx="6">
                  <c:v>Znojmo</c:v>
                </c:pt>
                <c:pt idx="7">
                  <c:v>Jeseník</c:v>
                </c:pt>
                <c:pt idx="8">
                  <c:v>Plzeň-jih</c:v>
                </c:pt>
                <c:pt idx="9">
                  <c:v>Příbram</c:v>
                </c:pt>
                <c:pt idx="10">
                  <c:v>Břeclav</c:v>
                </c:pt>
                <c:pt idx="11">
                  <c:v>Plzeň-sever</c:v>
                </c:pt>
                <c:pt idx="12">
                  <c:v>Plzeň-město</c:v>
                </c:pt>
                <c:pt idx="13">
                  <c:v>Tachov</c:v>
                </c:pt>
                <c:pt idx="14">
                  <c:v>Karlovy Vary</c:v>
                </c:pt>
                <c:pt idx="15">
                  <c:v>Trutnov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319.74577268625598</c:v>
                </c:pt>
                <c:pt idx="1">
                  <c:v>313.95202813010098</c:v>
                </c:pt>
                <c:pt idx="2">
                  <c:v>310.98031849393601</c:v>
                </c:pt>
                <c:pt idx="3">
                  <c:v>237.81580085242999</c:v>
                </c:pt>
                <c:pt idx="4">
                  <c:v>227.10658414152701</c:v>
                </c:pt>
                <c:pt idx="5">
                  <c:v>213.48071087993</c:v>
                </c:pt>
                <c:pt idx="6">
                  <c:v>209.00560554782999</c:v>
                </c:pt>
                <c:pt idx="7">
                  <c:v>202.80235988200499</c:v>
                </c:pt>
                <c:pt idx="8">
                  <c:v>152.78477822580601</c:v>
                </c:pt>
                <c:pt idx="9">
                  <c:v>147.69252154573201</c:v>
                </c:pt>
                <c:pt idx="10">
                  <c:v>146.185001418854</c:v>
                </c:pt>
                <c:pt idx="11">
                  <c:v>111.279210792833</c:v>
                </c:pt>
                <c:pt idx="12">
                  <c:v>108.091414453366</c:v>
                </c:pt>
                <c:pt idx="13">
                  <c:v>80.977620730270004</c:v>
                </c:pt>
                <c:pt idx="14">
                  <c:v>66.191712100890001</c:v>
                </c:pt>
                <c:pt idx="15">
                  <c:v>42.38078285782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37-4805-8731-823AC2193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Přerov</c:v>
                </c:pt>
                <c:pt idx="1">
                  <c:v>Jeseník</c:v>
                </c:pt>
                <c:pt idx="2">
                  <c:v>Prachatice</c:v>
                </c:pt>
                <c:pt idx="3">
                  <c:v>Vsetín</c:v>
                </c:pt>
                <c:pt idx="4">
                  <c:v>Tábor</c:v>
                </c:pt>
                <c:pt idx="5">
                  <c:v>Vyškov</c:v>
                </c:pt>
                <c:pt idx="6">
                  <c:v>Znojmo</c:v>
                </c:pt>
                <c:pt idx="7">
                  <c:v>Břeclav</c:v>
                </c:pt>
                <c:pt idx="8">
                  <c:v>Příbram</c:v>
                </c:pt>
                <c:pt idx="9">
                  <c:v>Plzeň-jih</c:v>
                </c:pt>
                <c:pt idx="10">
                  <c:v>Zlín</c:v>
                </c:pt>
                <c:pt idx="11">
                  <c:v>Plzeň-sever</c:v>
                </c:pt>
                <c:pt idx="12">
                  <c:v>Plzeň-město</c:v>
                </c:pt>
                <c:pt idx="13">
                  <c:v>Tachov</c:v>
                </c:pt>
                <c:pt idx="14">
                  <c:v>Karlovy Vary</c:v>
                </c:pt>
                <c:pt idx="15">
                  <c:v>Trutnov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0.25771971496399998</c:v>
                </c:pt>
                <c:pt idx="1">
                  <c:v>0.21126760563300001</c:v>
                </c:pt>
                <c:pt idx="2">
                  <c:v>0.205692108667</c:v>
                </c:pt>
                <c:pt idx="3">
                  <c:v>0.17466216216200001</c:v>
                </c:pt>
                <c:pt idx="4">
                  <c:v>0.15807327001300001</c:v>
                </c:pt>
                <c:pt idx="5">
                  <c:v>0.13405797101399999</c:v>
                </c:pt>
                <c:pt idx="6">
                  <c:v>0.12099276111600001</c:v>
                </c:pt>
                <c:pt idx="7">
                  <c:v>0.107909604519</c:v>
                </c:pt>
                <c:pt idx="8">
                  <c:v>0.10263335584</c:v>
                </c:pt>
                <c:pt idx="9">
                  <c:v>0.101553166069</c:v>
                </c:pt>
                <c:pt idx="10">
                  <c:v>0.100142608144</c:v>
                </c:pt>
                <c:pt idx="11">
                  <c:v>9.1549295774000006E-2</c:v>
                </c:pt>
                <c:pt idx="12">
                  <c:v>8.4627964021999999E-2</c:v>
                </c:pt>
                <c:pt idx="13">
                  <c:v>7.1028037382999995E-2</c:v>
                </c:pt>
                <c:pt idx="14">
                  <c:v>4.7858942065E-2</c:v>
                </c:pt>
                <c:pt idx="15">
                  <c:v>2.7010435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15-4872-94A0-3642CDCE5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Olomou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Středočeský kraj</c:v>
                </c:pt>
                <c:pt idx="10">
                  <c:v>Plzeň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2.25809586278939</c:v>
                </c:pt>
                <c:pt idx="1">
                  <c:v>472.05123939444354</c:v>
                </c:pt>
                <c:pt idx="2">
                  <c:v>279.44620950349019</c:v>
                </c:pt>
                <c:pt idx="3">
                  <c:v>426.79342687009637</c:v>
                </c:pt>
                <c:pt idx="4">
                  <c:v>443.56120826709059</c:v>
                </c:pt>
                <c:pt idx="5">
                  <c:v>305.58006412877404</c:v>
                </c:pt>
                <c:pt idx="6">
                  <c:v>289.05282189212414</c:v>
                </c:pt>
                <c:pt idx="7">
                  <c:v>296.63834594458308</c:v>
                </c:pt>
                <c:pt idx="8">
                  <c:v>365.38684607354134</c:v>
                </c:pt>
                <c:pt idx="9">
                  <c:v>278.98793565683644</c:v>
                </c:pt>
                <c:pt idx="10">
                  <c:v>321.96048456211059</c:v>
                </c:pt>
                <c:pt idx="11">
                  <c:v>189.12339295414765</c:v>
                </c:pt>
                <c:pt idx="12">
                  <c:v>119.19919811448541</c:v>
                </c:pt>
                <c:pt idx="13">
                  <c:v>211.54129974910217</c:v>
                </c:pt>
                <c:pt idx="14">
                  <c:v>97.756261055767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Olomou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Středočeský kraj</c:v>
                </c:pt>
                <c:pt idx="10">
                  <c:v>Plzeň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08.52950465223626</c:v>
                </c:pt>
                <c:pt idx="1">
                  <c:v>332.72334054233903</c:v>
                </c:pt>
                <c:pt idx="2">
                  <c:v>231.90556805268895</c:v>
                </c:pt>
                <c:pt idx="3">
                  <c:v>339.90135193845998</c:v>
                </c:pt>
                <c:pt idx="4">
                  <c:v>271.86009538950714</c:v>
                </c:pt>
                <c:pt idx="5">
                  <c:v>243.17286793346102</c:v>
                </c:pt>
                <c:pt idx="6">
                  <c:v>206.46630135151725</c:v>
                </c:pt>
                <c:pt idx="7">
                  <c:v>209.37723251255153</c:v>
                </c:pt>
                <c:pt idx="8">
                  <c:v>234.89154390441945</c:v>
                </c:pt>
                <c:pt idx="9">
                  <c:v>171.74932975871315</c:v>
                </c:pt>
                <c:pt idx="10">
                  <c:v>155.18958608389502</c:v>
                </c:pt>
                <c:pt idx="11">
                  <c:v>130.77681427680423</c:v>
                </c:pt>
                <c:pt idx="12">
                  <c:v>135.45363422100615</c:v>
                </c:pt>
                <c:pt idx="13">
                  <c:v>118.06956265066168</c:v>
                </c:pt>
                <c:pt idx="14">
                  <c:v>102.41132110604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4.4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Olomou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Středočeský kraj</c:v>
                </c:pt>
                <c:pt idx="10">
                  <c:v>Plzeň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40.11126497096905</c:v>
                </c:pt>
                <c:pt idx="1">
                  <c:v>282.8148394609882</c:v>
                </c:pt>
                <c:pt idx="2">
                  <c:v>228.4269845318986</c:v>
                </c:pt>
                <c:pt idx="3">
                  <c:v>191.67369470213907</c:v>
                </c:pt>
                <c:pt idx="4">
                  <c:v>190.77901430842607</c:v>
                </c:pt>
                <c:pt idx="5">
                  <c:v>189.373560868536</c:v>
                </c:pt>
                <c:pt idx="6">
                  <c:v>165.1730410812138</c:v>
                </c:pt>
                <c:pt idx="7">
                  <c:v>158.5779157695417</c:v>
                </c:pt>
                <c:pt idx="8">
                  <c:v>150.79457139542976</c:v>
                </c:pt>
                <c:pt idx="9">
                  <c:v>115.61662198391421</c:v>
                </c:pt>
                <c:pt idx="10">
                  <c:v>111.18059898547703</c:v>
                </c:pt>
                <c:pt idx="11">
                  <c:v>78.466088566082533</c:v>
                </c:pt>
                <c:pt idx="12">
                  <c:v>73.14496247934332</c:v>
                </c:pt>
                <c:pt idx="13">
                  <c:v>61.49456388055296</c:v>
                </c:pt>
                <c:pt idx="14">
                  <c:v>46.550600502746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Olomou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Středočeský kraj</c:v>
                </c:pt>
                <c:pt idx="10">
                  <c:v>Plzeň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0.11126497096905</c:v>
                </c:pt>
                <c:pt idx="1">
                  <c:v>282.8148394609882</c:v>
                </c:pt>
                <c:pt idx="2">
                  <c:v>228.4269845318986</c:v>
                </c:pt>
                <c:pt idx="3">
                  <c:v>191.67369470213907</c:v>
                </c:pt>
                <c:pt idx="4">
                  <c:v>190.77901430842607</c:v>
                </c:pt>
                <c:pt idx="5">
                  <c:v>189.373560868536</c:v>
                </c:pt>
                <c:pt idx="6">
                  <c:v>165.1730410812138</c:v>
                </c:pt>
                <c:pt idx="7">
                  <c:v>158.5779157695417</c:v>
                </c:pt>
                <c:pt idx="8">
                  <c:v>150.79457139542976</c:v>
                </c:pt>
                <c:pt idx="9">
                  <c:v>115.61662198391421</c:v>
                </c:pt>
                <c:pt idx="10">
                  <c:v>111.18059898547703</c:v>
                </c:pt>
                <c:pt idx="11">
                  <c:v>78.466088566082533</c:v>
                </c:pt>
                <c:pt idx="12">
                  <c:v>73.14496247934332</c:v>
                </c:pt>
                <c:pt idx="13">
                  <c:v>61.49456388055296</c:v>
                </c:pt>
                <c:pt idx="14">
                  <c:v>46.550600502746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707.78885447949483</c:v>
                </c:pt>
                <c:pt idx="1">
                  <c:v>969.76335060264933</c:v>
                </c:pt>
                <c:pt idx="2">
                  <c:v>544.78848453811997</c:v>
                </c:pt>
                <c:pt idx="3">
                  <c:v>441.34490652114573</c:v>
                </c:pt>
                <c:pt idx="4">
                  <c:v>455.3994478342276</c:v>
                </c:pt>
                <c:pt idx="5">
                  <c:v>476.93897475082815</c:v>
                </c:pt>
                <c:pt idx="6">
                  <c:v>511.94070599030414</c:v>
                </c:pt>
                <c:pt idx="7">
                  <c:v>626.80023327307663</c:v>
                </c:pt>
                <c:pt idx="8">
                  <c:v>813.27868755354609</c:v>
                </c:pt>
                <c:pt idx="9">
                  <c:v>848.33426761031353</c:v>
                </c:pt>
                <c:pt idx="10">
                  <c:v>761.96076467474529</c:v>
                </c:pt>
                <c:pt idx="11">
                  <c:v>651.73223567904188</c:v>
                </c:pt>
                <c:pt idx="12">
                  <c:v>503.00180231991487</c:v>
                </c:pt>
                <c:pt idx="13">
                  <c:v>378.07254620363153</c:v>
                </c:pt>
                <c:pt idx="14">
                  <c:v>288.95275358619671</c:v>
                </c:pt>
                <c:pt idx="15">
                  <c:v>209.31035281206607</c:v>
                </c:pt>
                <c:pt idx="16">
                  <c:v>172.74700587113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783.18199706856137</c:v>
                </c:pt>
                <c:pt idx="1">
                  <c:v>970.65314393270569</c:v>
                </c:pt>
                <c:pt idx="2">
                  <c:v>604.81715723266484</c:v>
                </c:pt>
                <c:pt idx="3">
                  <c:v>518.34683310356434</c:v>
                </c:pt>
                <c:pt idx="4">
                  <c:v>506.46904132758897</c:v>
                </c:pt>
                <c:pt idx="5">
                  <c:v>547.32864503694418</c:v>
                </c:pt>
                <c:pt idx="6">
                  <c:v>584.46654065649375</c:v>
                </c:pt>
                <c:pt idx="7">
                  <c:v>709.14376166498175</c:v>
                </c:pt>
                <c:pt idx="8">
                  <c:v>884.14322716435186</c:v>
                </c:pt>
                <c:pt idx="9">
                  <c:v>908.9282193368872</c:v>
                </c:pt>
                <c:pt idx="10">
                  <c:v>820.47826324512403</c:v>
                </c:pt>
                <c:pt idx="11">
                  <c:v>684.00243573916725</c:v>
                </c:pt>
                <c:pt idx="12">
                  <c:v>502.39099948450411</c:v>
                </c:pt>
                <c:pt idx="13">
                  <c:v>369.35973159358019</c:v>
                </c:pt>
                <c:pt idx="14">
                  <c:v>284.35433511684994</c:v>
                </c:pt>
                <c:pt idx="15">
                  <c:v>214.27536363859534</c:v>
                </c:pt>
                <c:pt idx="16">
                  <c:v>178.24606191813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756.74030685420132</c:v>
                </c:pt>
                <c:pt idx="1">
                  <c:v>943.35169316186682</c:v>
                </c:pt>
                <c:pt idx="2">
                  <c:v>623.0590607963419</c:v>
                </c:pt>
                <c:pt idx="3">
                  <c:v>521.51755834367782</c:v>
                </c:pt>
                <c:pt idx="4">
                  <c:v>503.08742412007354</c:v>
                </c:pt>
                <c:pt idx="5">
                  <c:v>520.61362805478166</c:v>
                </c:pt>
                <c:pt idx="6">
                  <c:v>548.0328468179639</c:v>
                </c:pt>
                <c:pt idx="7">
                  <c:v>652.28614013731635</c:v>
                </c:pt>
                <c:pt idx="8">
                  <c:v>813.38660495835813</c:v>
                </c:pt>
                <c:pt idx="9">
                  <c:v>856.82547717475495</c:v>
                </c:pt>
                <c:pt idx="10">
                  <c:v>805.35166905705921</c:v>
                </c:pt>
                <c:pt idx="11">
                  <c:v>685.93243422400531</c:v>
                </c:pt>
                <c:pt idx="12">
                  <c:v>525.2839345474116</c:v>
                </c:pt>
                <c:pt idx="13">
                  <c:v>382.11142045614292</c:v>
                </c:pt>
                <c:pt idx="14">
                  <c:v>300.95856785302465</c:v>
                </c:pt>
                <c:pt idx="15">
                  <c:v>209.81226372266593</c:v>
                </c:pt>
                <c:pt idx="16">
                  <c:v>172.60046682977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31.32028136338033</c:v>
                </c:pt>
                <c:pt idx="1">
                  <c:v>737.03039470286558</c:v>
                </c:pt>
                <c:pt idx="2">
                  <c:v>441.60976549671062</c:v>
                </c:pt>
                <c:pt idx="3">
                  <c:v>338.01362195676512</c:v>
                </c:pt>
                <c:pt idx="4">
                  <c:v>313.75277810064836</c:v>
                </c:pt>
                <c:pt idx="5">
                  <c:v>333.4110824470838</c:v>
                </c:pt>
                <c:pt idx="6">
                  <c:v>338.55968596638832</c:v>
                </c:pt>
                <c:pt idx="7">
                  <c:v>402.76121166923105</c:v>
                </c:pt>
                <c:pt idx="8">
                  <c:v>496.37218474749511</c:v>
                </c:pt>
                <c:pt idx="9">
                  <c:v>542.39757984430821</c:v>
                </c:pt>
                <c:pt idx="10">
                  <c:v>490.75552636279929</c:v>
                </c:pt>
                <c:pt idx="11">
                  <c:v>442.15582950633387</c:v>
                </c:pt>
                <c:pt idx="12">
                  <c:v>347.84277412998284</c:v>
                </c:pt>
                <c:pt idx="13">
                  <c:v>266.71326412882064</c:v>
                </c:pt>
                <c:pt idx="14">
                  <c:v>200.87354639710827</c:v>
                </c:pt>
                <c:pt idx="15">
                  <c:v>150.94769408870079</c:v>
                </c:pt>
                <c:pt idx="16">
                  <c:v>113.34728656893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616.54951166783871</c:v>
                </c:pt>
                <c:pt idx="1">
                  <c:v>846.15212614845586</c:v>
                </c:pt>
                <c:pt idx="2">
                  <c:v>573.2415864352057</c:v>
                </c:pt>
                <c:pt idx="3">
                  <c:v>445.55381774659998</c:v>
                </c:pt>
                <c:pt idx="4">
                  <c:v>407.07096027086357</c:v>
                </c:pt>
                <c:pt idx="5">
                  <c:v>400.7159929812924</c:v>
                </c:pt>
                <c:pt idx="6">
                  <c:v>371.76558643991268</c:v>
                </c:pt>
                <c:pt idx="7">
                  <c:v>426.72428503675951</c:v>
                </c:pt>
                <c:pt idx="8">
                  <c:v>516.98835746455723</c:v>
                </c:pt>
                <c:pt idx="9">
                  <c:v>539.7014812958023</c:v>
                </c:pt>
                <c:pt idx="10">
                  <c:v>475.79875466178123</c:v>
                </c:pt>
                <c:pt idx="11">
                  <c:v>430.37250699929115</c:v>
                </c:pt>
                <c:pt idx="12">
                  <c:v>340.69685746867589</c:v>
                </c:pt>
                <c:pt idx="13">
                  <c:v>255.4932219566478</c:v>
                </c:pt>
                <c:pt idx="14">
                  <c:v>185.7062663508016</c:v>
                </c:pt>
                <c:pt idx="15">
                  <c:v>149.8124696226682</c:v>
                </c:pt>
                <c:pt idx="16">
                  <c:v>105.916121492852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7.12 - 2.1</c:v>
                </c:pt>
                <c:pt idx="1">
                  <c:v>3.1 - 9.1</c:v>
                </c:pt>
                <c:pt idx="2">
                  <c:v>10.1 - 16.1</c:v>
                </c:pt>
                <c:pt idx="3">
                  <c:v>17.1 - 23.1</c:v>
                </c:pt>
                <c:pt idx="4">
                  <c:v>24.1 - 30.1</c:v>
                </c:pt>
                <c:pt idx="5">
                  <c:v>31.1 - 6.2</c:v>
                </c:pt>
                <c:pt idx="6">
                  <c:v>7.2 - 13.2</c:v>
                </c:pt>
                <c:pt idx="7">
                  <c:v>14.2 - 20.2</c:v>
                </c:pt>
                <c:pt idx="8">
                  <c:v>21.2 - 27.2</c:v>
                </c:pt>
                <c:pt idx="9">
                  <c:v>28.2 - 6.3</c:v>
                </c:pt>
                <c:pt idx="10">
                  <c:v>7.3 - 13.3</c:v>
                </c:pt>
                <c:pt idx="11">
                  <c:v>14.3 - 20.3</c:v>
                </c:pt>
                <c:pt idx="12">
                  <c:v>21.3 - 27.3</c:v>
                </c:pt>
                <c:pt idx="13">
                  <c:v>28.3 - 3.4</c:v>
                </c:pt>
                <c:pt idx="14">
                  <c:v>4.4 - 10.4</c:v>
                </c:pt>
                <c:pt idx="15">
                  <c:v>11.4 - 17.4</c:v>
                </c:pt>
                <c:pt idx="16">
                  <c:v>18.4 - 24.4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643.41118833762255</c:v>
                </c:pt>
                <c:pt idx="1">
                  <c:v>834.73451643964495</c:v>
                </c:pt>
                <c:pt idx="2">
                  <c:v>533.93796242900191</c:v>
                </c:pt>
                <c:pt idx="3">
                  <c:v>443.56901605666837</c:v>
                </c:pt>
                <c:pt idx="4">
                  <c:v>432.29159994273687</c:v>
                </c:pt>
                <c:pt idx="5">
                  <c:v>456.77275697944725</c:v>
                </c:pt>
                <c:pt idx="6">
                  <c:v>479.55201539863231</c:v>
                </c:pt>
                <c:pt idx="7">
                  <c:v>582.01192282843976</c:v>
                </c:pt>
                <c:pt idx="8">
                  <c:v>730.25477328793932</c:v>
                </c:pt>
                <c:pt idx="9">
                  <c:v>755.99832765083613</c:v>
                </c:pt>
                <c:pt idx="10">
                  <c:v>682.7231761841964</c:v>
                </c:pt>
                <c:pt idx="11">
                  <c:v>582.78806340676169</c:v>
                </c:pt>
                <c:pt idx="12">
                  <c:v>445.28026576549877</c:v>
                </c:pt>
                <c:pt idx="13">
                  <c:v>329.15841393896335</c:v>
                </c:pt>
                <c:pt idx="14">
                  <c:v>252.9750730764425</c:v>
                </c:pt>
                <c:pt idx="15">
                  <c:v>194.1941131326833</c:v>
                </c:pt>
                <c:pt idx="16">
                  <c:v>156.04166060793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4.2578125000000001E-2</c:v>
                </c:pt>
                <c:pt idx="1">
                  <c:v>7.4275362318840576E-2</c:v>
                </c:pt>
                <c:pt idx="2">
                  <c:v>7.2694502853709819E-2</c:v>
                </c:pt>
                <c:pt idx="3">
                  <c:v>8.7135506003430535E-2</c:v>
                </c:pt>
                <c:pt idx="4">
                  <c:v>7.1942446043165464E-2</c:v>
                </c:pt>
                <c:pt idx="5">
                  <c:v>0.11911111111111111</c:v>
                </c:pt>
                <c:pt idx="6">
                  <c:v>5.9675296182536197E-2</c:v>
                </c:pt>
                <c:pt idx="7">
                  <c:v>8.9437819420783646E-2</c:v>
                </c:pt>
                <c:pt idx="8">
                  <c:v>8.9972527472527472E-2</c:v>
                </c:pt>
                <c:pt idx="9">
                  <c:v>0.10698131760078662</c:v>
                </c:pt>
                <c:pt idx="10">
                  <c:v>8.0320677658448039E-2</c:v>
                </c:pt>
                <c:pt idx="11">
                  <c:v>0.15019011406844107</c:v>
                </c:pt>
                <c:pt idx="12">
                  <c:v>0.1527363184079602</c:v>
                </c:pt>
                <c:pt idx="13">
                  <c:v>6.9335719078505928E-2</c:v>
                </c:pt>
                <c:pt idx="14">
                  <c:v>8.4968329986096089E-2</c:v>
                </c:pt>
                <c:pt idx="15">
                  <c:v>0.12220726783310902</c:v>
                </c:pt>
                <c:pt idx="16">
                  <c:v>0.1789815566639601</c:v>
                </c:pt>
                <c:pt idx="17">
                  <c:v>0.13938347063513154</c:v>
                </c:pt>
                <c:pt idx="18">
                  <c:v>0.14387271496276235</c:v>
                </c:pt>
                <c:pt idx="19">
                  <c:v>0.11019929660023446</c:v>
                </c:pt>
                <c:pt idx="20">
                  <c:v>9.1988130563798218E-2</c:v>
                </c:pt>
                <c:pt idx="21">
                  <c:v>0.13539420081476156</c:v>
                </c:pt>
                <c:pt idx="22">
                  <c:v>0.13465635160892478</c:v>
                </c:pt>
                <c:pt idx="23">
                  <c:v>0.15190684755902148</c:v>
                </c:pt>
                <c:pt idx="24">
                  <c:v>0.16906286074089621</c:v>
                </c:pt>
                <c:pt idx="25">
                  <c:v>0.15887290167865709</c:v>
                </c:pt>
                <c:pt idx="26">
                  <c:v>0.15025545750116118</c:v>
                </c:pt>
                <c:pt idx="27">
                  <c:v>0.14107332624867164</c:v>
                </c:pt>
                <c:pt idx="28">
                  <c:v>0.14438352312666947</c:v>
                </c:pt>
                <c:pt idx="29">
                  <c:v>0.17619701934256421</c:v>
                </c:pt>
                <c:pt idx="30">
                  <c:v>0.20555393727546364</c:v>
                </c:pt>
                <c:pt idx="31">
                  <c:v>0.21006564551422319</c:v>
                </c:pt>
                <c:pt idx="32">
                  <c:v>0.21954992967651196</c:v>
                </c:pt>
                <c:pt idx="33">
                  <c:v>0.25961538461538464</c:v>
                </c:pt>
                <c:pt idx="34">
                  <c:v>0.24014677901603695</c:v>
                </c:pt>
                <c:pt idx="35">
                  <c:v>0.24015352279996344</c:v>
                </c:pt>
                <c:pt idx="36">
                  <c:v>0.27439490445859871</c:v>
                </c:pt>
                <c:pt idx="37">
                  <c:v>0.28343791281373842</c:v>
                </c:pt>
                <c:pt idx="38">
                  <c:v>0.39409556062725465</c:v>
                </c:pt>
                <c:pt idx="39">
                  <c:v>0.32564406596960221</c:v>
                </c:pt>
                <c:pt idx="40">
                  <c:v>0.33895478131949591</c:v>
                </c:pt>
                <c:pt idx="41">
                  <c:v>0.25652680652680654</c:v>
                </c:pt>
                <c:pt idx="42">
                  <c:v>0.32481657871025871</c:v>
                </c:pt>
                <c:pt idx="43">
                  <c:v>0.34648541114058357</c:v>
                </c:pt>
                <c:pt idx="44">
                  <c:v>0.3503231658918245</c:v>
                </c:pt>
                <c:pt idx="45">
                  <c:v>0.35489441484112888</c:v>
                </c:pt>
                <c:pt idx="46">
                  <c:v>0.36369783022927038</c:v>
                </c:pt>
                <c:pt idx="47">
                  <c:v>0.36930347698886012</c:v>
                </c:pt>
                <c:pt idx="48">
                  <c:v>0.34709052459240058</c:v>
                </c:pt>
                <c:pt idx="49">
                  <c:v>0.36274155679971104</c:v>
                </c:pt>
                <c:pt idx="50">
                  <c:v>0.40500226626560631</c:v>
                </c:pt>
                <c:pt idx="51">
                  <c:v>0.38710457384646385</c:v>
                </c:pt>
                <c:pt idx="52">
                  <c:v>0.40325092855145972</c:v>
                </c:pt>
                <c:pt idx="53">
                  <c:v>0.3839063387357477</c:v>
                </c:pt>
                <c:pt idx="54">
                  <c:v>0.41135303265940903</c:v>
                </c:pt>
                <c:pt idx="55">
                  <c:v>0.36167567567567566</c:v>
                </c:pt>
                <c:pt idx="56">
                  <c:v>0.38091087382872085</c:v>
                </c:pt>
                <c:pt idx="57">
                  <c:v>0.39364151611760539</c:v>
                </c:pt>
                <c:pt idx="58">
                  <c:v>0.37267534252458878</c:v>
                </c:pt>
                <c:pt idx="59">
                  <c:v>0.34415873959571935</c:v>
                </c:pt>
                <c:pt idx="60">
                  <c:v>0.38079711908122049</c:v>
                </c:pt>
                <c:pt idx="61">
                  <c:v>0.38580021873860737</c:v>
                </c:pt>
                <c:pt idx="62">
                  <c:v>0.37296949865607104</c:v>
                </c:pt>
                <c:pt idx="63">
                  <c:v>0.34551738158162226</c:v>
                </c:pt>
                <c:pt idx="64">
                  <c:v>0.41384597240240595</c:v>
                </c:pt>
                <c:pt idx="65">
                  <c:v>0.38127627999010638</c:v>
                </c:pt>
                <c:pt idx="66">
                  <c:v>0.34452344523445233</c:v>
                </c:pt>
                <c:pt idx="67">
                  <c:v>0.35767646442784334</c:v>
                </c:pt>
                <c:pt idx="68">
                  <c:v>0.32489699823425544</c:v>
                </c:pt>
                <c:pt idx="69">
                  <c:v>0.25710603079845329</c:v>
                </c:pt>
                <c:pt idx="70">
                  <c:v>0.30533306296258744</c:v>
                </c:pt>
                <c:pt idx="71">
                  <c:v>0.33244831092531918</c:v>
                </c:pt>
                <c:pt idx="72">
                  <c:v>0.32509035571618794</c:v>
                </c:pt>
                <c:pt idx="73">
                  <c:v>0.28907262294070463</c:v>
                </c:pt>
                <c:pt idx="74">
                  <c:v>0.32589124954987397</c:v>
                </c:pt>
                <c:pt idx="75">
                  <c:v>0.28360569319978912</c:v>
                </c:pt>
                <c:pt idx="76">
                  <c:v>0.26156081026551531</c:v>
                </c:pt>
                <c:pt idx="77">
                  <c:v>0.30995394969890189</c:v>
                </c:pt>
                <c:pt idx="78">
                  <c:v>0.27766112098207074</c:v>
                </c:pt>
                <c:pt idx="79">
                  <c:v>0.30573479301094758</c:v>
                </c:pt>
                <c:pt idx="80">
                  <c:v>0.27558816854527574</c:v>
                </c:pt>
                <c:pt idx="81">
                  <c:v>0.28104014859265608</c:v>
                </c:pt>
                <c:pt idx="82">
                  <c:v>0.26969585928911688</c:v>
                </c:pt>
                <c:pt idx="83">
                  <c:v>0.23721881390593047</c:v>
                </c:pt>
                <c:pt idx="84">
                  <c:v>0.2997550762423955</c:v>
                </c:pt>
                <c:pt idx="85">
                  <c:v>0.27461706783369805</c:v>
                </c:pt>
                <c:pt idx="86">
                  <c:v>0.26700387430047351</c:v>
                </c:pt>
                <c:pt idx="87">
                  <c:v>0.25135787567893786</c:v>
                </c:pt>
                <c:pt idx="88">
                  <c:v>0.26869647954329212</c:v>
                </c:pt>
                <c:pt idx="89">
                  <c:v>0.21727861771058316</c:v>
                </c:pt>
                <c:pt idx="90">
                  <c:v>0.21415310691274436</c:v>
                </c:pt>
                <c:pt idx="91">
                  <c:v>0.29279583373517215</c:v>
                </c:pt>
                <c:pt idx="92">
                  <c:v>0.25453016999813188</c:v>
                </c:pt>
                <c:pt idx="93">
                  <c:v>0.2819209625557515</c:v>
                </c:pt>
                <c:pt idx="94">
                  <c:v>0.27336973980083523</c:v>
                </c:pt>
                <c:pt idx="95">
                  <c:v>0.31361055138303717</c:v>
                </c:pt>
                <c:pt idx="96">
                  <c:v>0.20523520485584218</c:v>
                </c:pt>
                <c:pt idx="97">
                  <c:v>0.22705175865027166</c:v>
                </c:pt>
                <c:pt idx="98">
                  <c:v>0.28948020824725229</c:v>
                </c:pt>
                <c:pt idx="99">
                  <c:v>0.31966411218000979</c:v>
                </c:pt>
                <c:pt idx="100">
                  <c:v>0.28606668935011909</c:v>
                </c:pt>
                <c:pt idx="101">
                  <c:v>0.27246131341904689</c:v>
                </c:pt>
                <c:pt idx="102">
                  <c:v>0.30896551724137933</c:v>
                </c:pt>
                <c:pt idx="103">
                  <c:v>0.30689858490566035</c:v>
                </c:pt>
                <c:pt idx="104">
                  <c:v>0.25062852188990031</c:v>
                </c:pt>
                <c:pt idx="105">
                  <c:v>0.3154774074831323</c:v>
                </c:pt>
                <c:pt idx="106">
                  <c:v>0.32560819462227913</c:v>
                </c:pt>
                <c:pt idx="107">
                  <c:v>0.30877331231941163</c:v>
                </c:pt>
                <c:pt idx="108">
                  <c:v>0.33365255698142121</c:v>
                </c:pt>
                <c:pt idx="109">
                  <c:v>0.30966926479882029</c:v>
                </c:pt>
                <c:pt idx="110">
                  <c:v>0.40397350993377484</c:v>
                </c:pt>
                <c:pt idx="111">
                  <c:v>0.3060503353284777</c:v>
                </c:pt>
                <c:pt idx="112">
                  <c:v>0.35293131392164534</c:v>
                </c:pt>
                <c:pt idx="113">
                  <c:v>0.41335269958930182</c:v>
                </c:pt>
                <c:pt idx="114">
                  <c:v>0.44887730553327987</c:v>
                </c:pt>
                <c:pt idx="115">
                  <c:v>0.39143730886850153</c:v>
                </c:pt>
                <c:pt idx="116">
                  <c:v>0.41994555803019057</c:v>
                </c:pt>
                <c:pt idx="117">
                  <c:v>0.40343438626245492</c:v>
                </c:pt>
                <c:pt idx="118">
                  <c:v>0.45525525525525523</c:v>
                </c:pt>
                <c:pt idx="119">
                  <c:v>0.54363344585247086</c:v>
                </c:pt>
                <c:pt idx="120">
                  <c:v>0.53902452054062722</c:v>
                </c:pt>
                <c:pt idx="121">
                  <c:v>0.54509408117655545</c:v>
                </c:pt>
                <c:pt idx="122">
                  <c:v>0.52652259332023577</c:v>
                </c:pt>
                <c:pt idx="123">
                  <c:v>0.47110472541507026</c:v>
                </c:pt>
                <c:pt idx="124">
                  <c:v>0.50848802157702677</c:v>
                </c:pt>
                <c:pt idx="125">
                  <c:v>0.41036571684989903</c:v>
                </c:pt>
                <c:pt idx="126">
                  <c:v>0.45961115351802795</c:v>
                </c:pt>
                <c:pt idx="127">
                  <c:v>0.51526092817253999</c:v>
                </c:pt>
                <c:pt idx="128">
                  <c:v>0.43348031017181088</c:v>
                </c:pt>
                <c:pt idx="129">
                  <c:v>0.38532961931290621</c:v>
                </c:pt>
                <c:pt idx="130">
                  <c:v>0.4839995690119599</c:v>
                </c:pt>
                <c:pt idx="131">
                  <c:v>0.4331759392321905</c:v>
                </c:pt>
                <c:pt idx="132">
                  <c:v>0.31640870768843588</c:v>
                </c:pt>
                <c:pt idx="133">
                  <c:v>0.33762932308601834</c:v>
                </c:pt>
                <c:pt idx="134">
                  <c:v>0.37154225085259568</c:v>
                </c:pt>
                <c:pt idx="135">
                  <c:v>0.30719570578848104</c:v>
                </c:pt>
                <c:pt idx="136">
                  <c:v>0.33530434782608698</c:v>
                </c:pt>
                <c:pt idx="137">
                  <c:v>0.3432922407541697</c:v>
                </c:pt>
                <c:pt idx="138">
                  <c:v>0.34861565942244715</c:v>
                </c:pt>
                <c:pt idx="139">
                  <c:v>0.30168926956935521</c:v>
                </c:pt>
                <c:pt idx="140">
                  <c:v>0.35835957629544801</c:v>
                </c:pt>
                <c:pt idx="141">
                  <c:v>0.33640128854118728</c:v>
                </c:pt>
                <c:pt idx="142">
                  <c:v>0.35845195729537366</c:v>
                </c:pt>
                <c:pt idx="143">
                  <c:v>0.31076565451111432</c:v>
                </c:pt>
                <c:pt idx="144">
                  <c:v>0.34475703324808182</c:v>
                </c:pt>
                <c:pt idx="145">
                  <c:v>0.34104234527687294</c:v>
                </c:pt>
                <c:pt idx="146">
                  <c:v>0.28401781296387929</c:v>
                </c:pt>
                <c:pt idx="147">
                  <c:v>0.3429718875502008</c:v>
                </c:pt>
                <c:pt idx="148">
                  <c:v>0.32792255058960545</c:v>
                </c:pt>
                <c:pt idx="149">
                  <c:v>0.33499428198006864</c:v>
                </c:pt>
                <c:pt idx="150">
                  <c:v>0.29402700322864689</c:v>
                </c:pt>
                <c:pt idx="151">
                  <c:v>0.32516084159276648</c:v>
                </c:pt>
                <c:pt idx="152">
                  <c:v>0.39191073919107394</c:v>
                </c:pt>
                <c:pt idx="153">
                  <c:v>0.2945620589456206</c:v>
                </c:pt>
                <c:pt idx="154">
                  <c:v>0.3406917379736823</c:v>
                </c:pt>
                <c:pt idx="155">
                  <c:v>0.34766341945503315</c:v>
                </c:pt>
                <c:pt idx="156">
                  <c:v>0.32089780910065879</c:v>
                </c:pt>
                <c:pt idx="157">
                  <c:v>0.31162516575806687</c:v>
                </c:pt>
                <c:pt idx="158">
                  <c:v>0.35762597226919174</c:v>
                </c:pt>
                <c:pt idx="159">
                  <c:v>0.35840554592720969</c:v>
                </c:pt>
                <c:pt idx="160">
                  <c:v>0.33692574664352909</c:v>
                </c:pt>
                <c:pt idx="161">
                  <c:v>0.37492778740612365</c:v>
                </c:pt>
                <c:pt idx="162">
                  <c:v>0.36277948268303378</c:v>
                </c:pt>
                <c:pt idx="163">
                  <c:v>0.35171476053784562</c:v>
                </c:pt>
                <c:pt idx="164">
                  <c:v>0.31623563218390804</c:v>
                </c:pt>
                <c:pt idx="165">
                  <c:v>0.34240496967904155</c:v>
                </c:pt>
                <c:pt idx="166">
                  <c:v>0.37127371273712739</c:v>
                </c:pt>
                <c:pt idx="167">
                  <c:v>0.33039896624131804</c:v>
                </c:pt>
                <c:pt idx="168">
                  <c:v>0.41147717895004127</c:v>
                </c:pt>
                <c:pt idx="169">
                  <c:v>0.38290758325531632</c:v>
                </c:pt>
                <c:pt idx="170">
                  <c:v>0.37719077039465387</c:v>
                </c:pt>
                <c:pt idx="171">
                  <c:v>0.33424929840972872</c:v>
                </c:pt>
                <c:pt idx="172">
                  <c:v>0.40868140868140868</c:v>
                </c:pt>
                <c:pt idx="173">
                  <c:v>0.48902368573079147</c:v>
                </c:pt>
                <c:pt idx="174">
                  <c:v>0.36889305313880338</c:v>
                </c:pt>
                <c:pt idx="175">
                  <c:v>0.42786310967394231</c:v>
                </c:pt>
                <c:pt idx="176">
                  <c:v>0.40319075634706103</c:v>
                </c:pt>
                <c:pt idx="177">
                  <c:v>0.40185354814375773</c:v>
                </c:pt>
                <c:pt idx="178">
                  <c:v>0.36831632653061225</c:v>
                </c:pt>
                <c:pt idx="179">
                  <c:v>0.37472607742878011</c:v>
                </c:pt>
                <c:pt idx="180">
                  <c:v>0.41060813900320076</c:v>
                </c:pt>
                <c:pt idx="181">
                  <c:v>0.37515435910101258</c:v>
                </c:pt>
                <c:pt idx="182">
                  <c:v>0.41340971986211583</c:v>
                </c:pt>
                <c:pt idx="183">
                  <c:v>0.40226876090750435</c:v>
                </c:pt>
                <c:pt idx="184">
                  <c:v>0.399728714524207</c:v>
                </c:pt>
                <c:pt idx="185">
                  <c:v>0.33053053053053055</c:v>
                </c:pt>
                <c:pt idx="186">
                  <c:v>0.46905982905982907</c:v>
                </c:pt>
                <c:pt idx="187">
                  <c:v>0.39487652896376646</c:v>
                </c:pt>
                <c:pt idx="188">
                  <c:v>0.33582537881316332</c:v>
                </c:pt>
                <c:pt idx="189">
                  <c:v>0.39541993218831639</c:v>
                </c:pt>
                <c:pt idx="190">
                  <c:v>0.37400065710217939</c:v>
                </c:pt>
                <c:pt idx="191">
                  <c:v>0.33384958493371331</c:v>
                </c:pt>
                <c:pt idx="192">
                  <c:v>0.43041782729805012</c:v>
                </c:pt>
                <c:pt idx="193">
                  <c:v>0.37906703253626028</c:v>
                </c:pt>
                <c:pt idx="194">
                  <c:v>0.39808153477218228</c:v>
                </c:pt>
                <c:pt idx="195">
                  <c:v>0.31749780686955936</c:v>
                </c:pt>
                <c:pt idx="196">
                  <c:v>0.38566875221343405</c:v>
                </c:pt>
                <c:pt idx="197">
                  <c:v>0.37010607521697203</c:v>
                </c:pt>
                <c:pt idx="198">
                  <c:v>0.35060670949321915</c:v>
                </c:pt>
                <c:pt idx="199">
                  <c:v>0.30456601639807745</c:v>
                </c:pt>
                <c:pt idx="200">
                  <c:v>0.3105885551175751</c:v>
                </c:pt>
                <c:pt idx="201">
                  <c:v>0.31778013432308239</c:v>
                </c:pt>
                <c:pt idx="202">
                  <c:v>0.2598375522435139</c:v>
                </c:pt>
                <c:pt idx="203">
                  <c:v>0.32762883914627799</c:v>
                </c:pt>
                <c:pt idx="204">
                  <c:v>0.33112330437433318</c:v>
                </c:pt>
                <c:pt idx="205">
                  <c:v>0.27115266707541386</c:v>
                </c:pt>
                <c:pt idx="206">
                  <c:v>0.27826719469813305</c:v>
                </c:pt>
                <c:pt idx="207">
                  <c:v>0.31645817044566066</c:v>
                </c:pt>
                <c:pt idx="208">
                  <c:v>0.16065911431513905</c:v>
                </c:pt>
                <c:pt idx="209">
                  <c:v>0.23498714853181712</c:v>
                </c:pt>
                <c:pt idx="210">
                  <c:v>0.28267985742343782</c:v>
                </c:pt>
                <c:pt idx="211">
                  <c:v>0.27179819936734528</c:v>
                </c:pt>
                <c:pt idx="212">
                  <c:v>0.25757162346521145</c:v>
                </c:pt>
                <c:pt idx="213">
                  <c:v>0.2843278217109993</c:v>
                </c:pt>
                <c:pt idx="214">
                  <c:v>0.26880394574599259</c:v>
                </c:pt>
                <c:pt idx="215">
                  <c:v>0.26374060893633849</c:v>
                </c:pt>
                <c:pt idx="216">
                  <c:v>0.13201820940819423</c:v>
                </c:pt>
                <c:pt idx="217">
                  <c:v>0.20287390528016325</c:v>
                </c:pt>
                <c:pt idx="218">
                  <c:v>0.26565170110299829</c:v>
                </c:pt>
                <c:pt idx="219">
                  <c:v>0.25874815179891575</c:v>
                </c:pt>
                <c:pt idx="220">
                  <c:v>0.22153228888039739</c:v>
                </c:pt>
                <c:pt idx="221">
                  <c:v>0.19536423841059603</c:v>
                </c:pt>
                <c:pt idx="222">
                  <c:v>0.16946160635481025</c:v>
                </c:pt>
                <c:pt idx="223">
                  <c:v>0.13321476964769649</c:v>
                </c:pt>
                <c:pt idx="224">
                  <c:v>0.1965137455554592</c:v>
                </c:pt>
                <c:pt idx="225">
                  <c:v>0.16075558982266769</c:v>
                </c:pt>
                <c:pt idx="226">
                  <c:v>0.17682572854986647</c:v>
                </c:pt>
                <c:pt idx="227">
                  <c:v>0.15893284688176948</c:v>
                </c:pt>
                <c:pt idx="228">
                  <c:v>0.15311128324296411</c:v>
                </c:pt>
                <c:pt idx="229">
                  <c:v>0.14097744360902256</c:v>
                </c:pt>
                <c:pt idx="230">
                  <c:v>0.13012156686177398</c:v>
                </c:pt>
                <c:pt idx="231">
                  <c:v>0.16693648223978669</c:v>
                </c:pt>
                <c:pt idx="232">
                  <c:v>0.15197331851028348</c:v>
                </c:pt>
                <c:pt idx="233">
                  <c:v>0.15157654805622389</c:v>
                </c:pt>
                <c:pt idx="234">
                  <c:v>0.14528428093645485</c:v>
                </c:pt>
                <c:pt idx="235">
                  <c:v>0.17830540037243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3.9362232187344297E-2</c:v>
                </c:pt>
                <c:pt idx="1">
                  <c:v>5.4358013120899717E-2</c:v>
                </c:pt>
                <c:pt idx="2">
                  <c:v>6.2795089707271004E-2</c:v>
                </c:pt>
                <c:pt idx="3">
                  <c:v>6.8233510235026537E-2</c:v>
                </c:pt>
                <c:pt idx="4">
                  <c:v>6.6024759284731768E-2</c:v>
                </c:pt>
                <c:pt idx="5">
                  <c:v>8.191126279863481E-2</c:v>
                </c:pt>
                <c:pt idx="6">
                  <c:v>5.0566695727986048E-2</c:v>
                </c:pt>
                <c:pt idx="7">
                  <c:v>6.8552105748539816E-2</c:v>
                </c:pt>
                <c:pt idx="8">
                  <c:v>8.0998781973203413E-2</c:v>
                </c:pt>
                <c:pt idx="9">
                  <c:v>8.5577179418821647E-2</c:v>
                </c:pt>
                <c:pt idx="10">
                  <c:v>7.4796747967479676E-2</c:v>
                </c:pt>
                <c:pt idx="11">
                  <c:v>0.10528031290743155</c:v>
                </c:pt>
                <c:pt idx="12">
                  <c:v>0.10762607626076261</c:v>
                </c:pt>
                <c:pt idx="13">
                  <c:v>5.8659924146649813E-2</c:v>
                </c:pt>
                <c:pt idx="14">
                  <c:v>8.581472291149711E-2</c:v>
                </c:pt>
                <c:pt idx="15">
                  <c:v>0.10588235294117647</c:v>
                </c:pt>
                <c:pt idx="16">
                  <c:v>0.12373333333333333</c:v>
                </c:pt>
                <c:pt idx="17">
                  <c:v>9.2561676868855497E-2</c:v>
                </c:pt>
                <c:pt idx="18">
                  <c:v>0.11208035950303992</c:v>
                </c:pt>
                <c:pt idx="19">
                  <c:v>8.5769230769230764E-2</c:v>
                </c:pt>
                <c:pt idx="20">
                  <c:v>8.3151937309534171E-2</c:v>
                </c:pt>
                <c:pt idx="21">
                  <c:v>9.9444444444444446E-2</c:v>
                </c:pt>
                <c:pt idx="22">
                  <c:v>9.8819034386939911E-2</c:v>
                </c:pt>
                <c:pt idx="23">
                  <c:v>0.12069547602970966</c:v>
                </c:pt>
                <c:pt idx="24">
                  <c:v>0.11533704390847248</c:v>
                </c:pt>
                <c:pt idx="25">
                  <c:v>0.12649402390438247</c:v>
                </c:pt>
                <c:pt idx="26">
                  <c:v>0.11939750183688465</c:v>
                </c:pt>
                <c:pt idx="27">
                  <c:v>0.1006675567423231</c:v>
                </c:pt>
                <c:pt idx="28">
                  <c:v>0.108603066439523</c:v>
                </c:pt>
                <c:pt idx="29">
                  <c:v>0.1294254207777133</c:v>
                </c:pt>
                <c:pt idx="30">
                  <c:v>0.14077669902912621</c:v>
                </c:pt>
                <c:pt idx="31">
                  <c:v>0.16210239836706922</c:v>
                </c:pt>
                <c:pt idx="32">
                  <c:v>0.16400660429279032</c:v>
                </c:pt>
                <c:pt idx="33">
                  <c:v>0.23175715119673088</c:v>
                </c:pt>
                <c:pt idx="34">
                  <c:v>0.18203708162773899</c:v>
                </c:pt>
                <c:pt idx="35">
                  <c:v>0.17552045944005742</c:v>
                </c:pt>
                <c:pt idx="36">
                  <c:v>0.20636315696959043</c:v>
                </c:pt>
                <c:pt idx="37">
                  <c:v>0.19821938518394086</c:v>
                </c:pt>
                <c:pt idx="38">
                  <c:v>0.27864133563615429</c:v>
                </c:pt>
                <c:pt idx="39">
                  <c:v>0.24045432576123732</c:v>
                </c:pt>
                <c:pt idx="40">
                  <c:v>0.23154949282966072</c:v>
                </c:pt>
                <c:pt idx="41">
                  <c:v>0.20330112721417068</c:v>
                </c:pt>
                <c:pt idx="42">
                  <c:v>0.22849826781141738</c:v>
                </c:pt>
                <c:pt idx="43">
                  <c:v>0.23399178045870345</c:v>
                </c:pt>
                <c:pt idx="44">
                  <c:v>0.23493267093737744</c:v>
                </c:pt>
                <c:pt idx="45">
                  <c:v>0.25431403744951658</c:v>
                </c:pt>
                <c:pt idx="46">
                  <c:v>0.24051017309444275</c:v>
                </c:pt>
                <c:pt idx="47">
                  <c:v>0.24504057709648333</c:v>
                </c:pt>
                <c:pt idx="48">
                  <c:v>0.23558317675964735</c:v>
                </c:pt>
                <c:pt idx="49">
                  <c:v>0.23936453779720651</c:v>
                </c:pt>
                <c:pt idx="50">
                  <c:v>0.2765818656229615</c:v>
                </c:pt>
                <c:pt idx="51">
                  <c:v>0.25809289232934551</c:v>
                </c:pt>
                <c:pt idx="52">
                  <c:v>0.27656347577839235</c:v>
                </c:pt>
                <c:pt idx="53">
                  <c:v>0.25544514704406301</c:v>
                </c:pt>
                <c:pt idx="54">
                  <c:v>0.28136612988851528</c:v>
                </c:pt>
                <c:pt idx="55">
                  <c:v>0.25603345280764633</c:v>
                </c:pt>
                <c:pt idx="56">
                  <c:v>0.27247292418772562</c:v>
                </c:pt>
                <c:pt idx="57">
                  <c:v>0.252106472615856</c:v>
                </c:pt>
                <c:pt idx="58">
                  <c:v>0.24044843049327355</c:v>
                </c:pt>
                <c:pt idx="59">
                  <c:v>0.24116478009159251</c:v>
                </c:pt>
                <c:pt idx="60">
                  <c:v>0.25375801534741932</c:v>
                </c:pt>
                <c:pt idx="61">
                  <c:v>0.27689684569479966</c:v>
                </c:pt>
                <c:pt idx="62">
                  <c:v>0.22738261865377274</c:v>
                </c:pt>
                <c:pt idx="63">
                  <c:v>0.22576361221779548</c:v>
                </c:pt>
                <c:pt idx="64">
                  <c:v>0.27494340936792616</c:v>
                </c:pt>
                <c:pt idx="65">
                  <c:v>0.24403619413216343</c:v>
                </c:pt>
                <c:pt idx="66">
                  <c:v>0.25310077519379848</c:v>
                </c:pt>
                <c:pt idx="67">
                  <c:v>0.26231527093596058</c:v>
                </c:pt>
                <c:pt idx="68">
                  <c:v>0.23416551086453999</c:v>
                </c:pt>
                <c:pt idx="69">
                  <c:v>0.18850468370533133</c:v>
                </c:pt>
                <c:pt idx="70">
                  <c:v>0.20291363163371487</c:v>
                </c:pt>
                <c:pt idx="71">
                  <c:v>0.20556097560975609</c:v>
                </c:pt>
                <c:pt idx="72">
                  <c:v>0.21048556575600044</c:v>
                </c:pt>
                <c:pt idx="73">
                  <c:v>0.20727313668092773</c:v>
                </c:pt>
                <c:pt idx="74">
                  <c:v>0.23869292360960831</c:v>
                </c:pt>
                <c:pt idx="75">
                  <c:v>0.22125567322239031</c:v>
                </c:pt>
                <c:pt idx="76">
                  <c:v>0.15939816833842127</c:v>
                </c:pt>
                <c:pt idx="77">
                  <c:v>0.22215821812596007</c:v>
                </c:pt>
                <c:pt idx="78">
                  <c:v>0.18058984019747953</c:v>
                </c:pt>
                <c:pt idx="79">
                  <c:v>0.21092177646585267</c:v>
                </c:pt>
                <c:pt idx="80">
                  <c:v>0.21345675600994751</c:v>
                </c:pt>
                <c:pt idx="81">
                  <c:v>0.20442737745651682</c:v>
                </c:pt>
                <c:pt idx="82">
                  <c:v>0.21534267912772587</c:v>
                </c:pt>
                <c:pt idx="83">
                  <c:v>0.13256085893483577</c:v>
                </c:pt>
                <c:pt idx="84">
                  <c:v>0.19838112223899027</c:v>
                </c:pt>
                <c:pt idx="85">
                  <c:v>0.18260745801309422</c:v>
                </c:pt>
                <c:pt idx="86">
                  <c:v>0.1672046481601033</c:v>
                </c:pt>
                <c:pt idx="87">
                  <c:v>0.18466622604097818</c:v>
                </c:pt>
                <c:pt idx="88">
                  <c:v>0.22456722788712355</c:v>
                </c:pt>
                <c:pt idx="89">
                  <c:v>0.20048309178743962</c:v>
                </c:pt>
                <c:pt idx="90">
                  <c:v>0.1133307721859393</c:v>
                </c:pt>
                <c:pt idx="91">
                  <c:v>0.19096884128529698</c:v>
                </c:pt>
                <c:pt idx="92">
                  <c:v>0.17894736842105263</c:v>
                </c:pt>
                <c:pt idx="93">
                  <c:v>0.1973738769868694</c:v>
                </c:pt>
                <c:pt idx="94">
                  <c:v>0.19966402687784976</c:v>
                </c:pt>
                <c:pt idx="95">
                  <c:v>0.27066866054261912</c:v>
                </c:pt>
                <c:pt idx="96">
                  <c:v>0.16589081675835801</c:v>
                </c:pt>
                <c:pt idx="97">
                  <c:v>0.13064906081458061</c:v>
                </c:pt>
                <c:pt idx="98">
                  <c:v>0.18843727376150585</c:v>
                </c:pt>
                <c:pt idx="99">
                  <c:v>0.19899528398605701</c:v>
                </c:pt>
                <c:pt idx="100">
                  <c:v>0.20535165060488006</c:v>
                </c:pt>
                <c:pt idx="101">
                  <c:v>0.1880519012434673</c:v>
                </c:pt>
                <c:pt idx="102">
                  <c:v>0.21041599484037407</c:v>
                </c:pt>
                <c:pt idx="103">
                  <c:v>0.21725539231009691</c:v>
                </c:pt>
                <c:pt idx="104">
                  <c:v>0.13908758543951677</c:v>
                </c:pt>
                <c:pt idx="105">
                  <c:v>0.19634302139891407</c:v>
                </c:pt>
                <c:pt idx="106">
                  <c:v>0.18288996372430472</c:v>
                </c:pt>
                <c:pt idx="107">
                  <c:v>0.17417851691170563</c:v>
                </c:pt>
                <c:pt idx="108">
                  <c:v>0.18031784841075796</c:v>
                </c:pt>
                <c:pt idx="109">
                  <c:v>0.17782195714601282</c:v>
                </c:pt>
                <c:pt idx="110">
                  <c:v>0.18743129351410773</c:v>
                </c:pt>
                <c:pt idx="111">
                  <c:v>0.14619917501473187</c:v>
                </c:pt>
                <c:pt idx="112">
                  <c:v>0.17029449423815621</c:v>
                </c:pt>
                <c:pt idx="113">
                  <c:v>0.18408701146312845</c:v>
                </c:pt>
                <c:pt idx="114">
                  <c:v>0.2363457760314342</c:v>
                </c:pt>
                <c:pt idx="115">
                  <c:v>0.21939245167229213</c:v>
                </c:pt>
                <c:pt idx="116">
                  <c:v>0.1872844827586207</c:v>
                </c:pt>
                <c:pt idx="117">
                  <c:v>0.19555014774900051</c:v>
                </c:pt>
                <c:pt idx="118">
                  <c:v>0.20346345087729326</c:v>
                </c:pt>
                <c:pt idx="119">
                  <c:v>0.2701067048893136</c:v>
                </c:pt>
                <c:pt idx="120">
                  <c:v>0.27142618477473968</c:v>
                </c:pt>
                <c:pt idx="121">
                  <c:v>0.30234079674323933</c:v>
                </c:pt>
                <c:pt idx="122">
                  <c:v>0.35795639440286364</c:v>
                </c:pt>
                <c:pt idx="123">
                  <c:v>0.20561291260724152</c:v>
                </c:pt>
                <c:pt idx="124">
                  <c:v>0.2598175327251091</c:v>
                </c:pt>
                <c:pt idx="125">
                  <c:v>0.19924662965900081</c:v>
                </c:pt>
                <c:pt idx="126">
                  <c:v>0.25056891263480757</c:v>
                </c:pt>
                <c:pt idx="127">
                  <c:v>0.29180838185276992</c:v>
                </c:pt>
                <c:pt idx="128">
                  <c:v>0.26297930098405159</c:v>
                </c:pt>
                <c:pt idx="129">
                  <c:v>0.22679302175317684</c:v>
                </c:pt>
                <c:pt idx="130">
                  <c:v>0.28415984593163218</c:v>
                </c:pt>
                <c:pt idx="131">
                  <c:v>0.23653577525997208</c:v>
                </c:pt>
                <c:pt idx="132">
                  <c:v>0.15776981205192792</c:v>
                </c:pt>
                <c:pt idx="133">
                  <c:v>0.20701002925198494</c:v>
                </c:pt>
                <c:pt idx="134">
                  <c:v>0.22952883347320466</c:v>
                </c:pt>
                <c:pt idx="135">
                  <c:v>0.18127364438839849</c:v>
                </c:pt>
                <c:pt idx="136">
                  <c:v>0.21030425481340623</c:v>
                </c:pt>
                <c:pt idx="137">
                  <c:v>0.24301051218966674</c:v>
                </c:pt>
                <c:pt idx="138">
                  <c:v>0.2255734919286321</c:v>
                </c:pt>
                <c:pt idx="139">
                  <c:v>0.16170749082141486</c:v>
                </c:pt>
                <c:pt idx="140">
                  <c:v>0.22343798570096363</c:v>
                </c:pt>
                <c:pt idx="141">
                  <c:v>0.20640664790242594</c:v>
                </c:pt>
                <c:pt idx="142">
                  <c:v>0.2017849039479655</c:v>
                </c:pt>
                <c:pt idx="143">
                  <c:v>0.19654665686994857</c:v>
                </c:pt>
                <c:pt idx="144">
                  <c:v>0.22717941699739974</c:v>
                </c:pt>
                <c:pt idx="145">
                  <c:v>0.20740429112326461</c:v>
                </c:pt>
                <c:pt idx="146">
                  <c:v>0.1514243725977843</c:v>
                </c:pt>
                <c:pt idx="147">
                  <c:v>0.22454390505649896</c:v>
                </c:pt>
                <c:pt idx="148">
                  <c:v>0.18594214324701316</c:v>
                </c:pt>
                <c:pt idx="149">
                  <c:v>0.22169878658101355</c:v>
                </c:pt>
                <c:pt idx="150">
                  <c:v>0.19347967575883085</c:v>
                </c:pt>
                <c:pt idx="151">
                  <c:v>0.20734908136482941</c:v>
                </c:pt>
                <c:pt idx="152">
                  <c:v>0.20645691959695661</c:v>
                </c:pt>
                <c:pt idx="153">
                  <c:v>0.15105691922687822</c:v>
                </c:pt>
                <c:pt idx="154">
                  <c:v>0.20140359368382843</c:v>
                </c:pt>
                <c:pt idx="155">
                  <c:v>0.21814854174046522</c:v>
                </c:pt>
                <c:pt idx="156">
                  <c:v>0.19457278583978654</c:v>
                </c:pt>
                <c:pt idx="157">
                  <c:v>0.19154753089935639</c:v>
                </c:pt>
                <c:pt idx="158">
                  <c:v>0.24114378328316741</c:v>
                </c:pt>
                <c:pt idx="159">
                  <c:v>0.18052391799544418</c:v>
                </c:pt>
                <c:pt idx="160">
                  <c:v>0.16648758998603203</c:v>
                </c:pt>
                <c:pt idx="161">
                  <c:v>0.21802166539008644</c:v>
                </c:pt>
                <c:pt idx="162">
                  <c:v>0.20760594839240581</c:v>
                </c:pt>
                <c:pt idx="163">
                  <c:v>0.2067830928878765</c:v>
                </c:pt>
                <c:pt idx="164">
                  <c:v>0.19113945292834369</c:v>
                </c:pt>
                <c:pt idx="165">
                  <c:v>0.21878754778809395</c:v>
                </c:pt>
                <c:pt idx="166">
                  <c:v>0.20302694721299372</c:v>
                </c:pt>
                <c:pt idx="167">
                  <c:v>0.17483628659476116</c:v>
                </c:pt>
                <c:pt idx="168">
                  <c:v>0.23611319809666917</c:v>
                </c:pt>
                <c:pt idx="169">
                  <c:v>0.20393848072326717</c:v>
                </c:pt>
                <c:pt idx="170">
                  <c:v>0.218490857584342</c:v>
                </c:pt>
                <c:pt idx="171">
                  <c:v>0.19362969752520623</c:v>
                </c:pt>
                <c:pt idx="172">
                  <c:v>0.25018268176835951</c:v>
                </c:pt>
                <c:pt idx="173">
                  <c:v>0.22992810065907729</c:v>
                </c:pt>
                <c:pt idx="174">
                  <c:v>0.18156090561224489</c:v>
                </c:pt>
                <c:pt idx="175">
                  <c:v>0.24297561579403393</c:v>
                </c:pt>
                <c:pt idx="176">
                  <c:v>0.20520520520520522</c:v>
                </c:pt>
                <c:pt idx="177">
                  <c:v>0.2254725085910653</c:v>
                </c:pt>
                <c:pt idx="178">
                  <c:v>0.20679627121344912</c:v>
                </c:pt>
                <c:pt idx="179">
                  <c:v>0.2210333231427698</c:v>
                </c:pt>
                <c:pt idx="180">
                  <c:v>0.2150631802827474</c:v>
                </c:pt>
                <c:pt idx="181">
                  <c:v>0.17520053977059749</c:v>
                </c:pt>
                <c:pt idx="182">
                  <c:v>0.22493706500814453</c:v>
                </c:pt>
                <c:pt idx="183">
                  <c:v>0.21369787133022078</c:v>
                </c:pt>
                <c:pt idx="184">
                  <c:v>0.19547292476016809</c:v>
                </c:pt>
                <c:pt idx="185">
                  <c:v>0.17136509324009325</c:v>
                </c:pt>
                <c:pt idx="186">
                  <c:v>0.2662647772645424</c:v>
                </c:pt>
                <c:pt idx="187">
                  <c:v>0.17456004140786749</c:v>
                </c:pt>
                <c:pt idx="188">
                  <c:v>0.13132595107402353</c:v>
                </c:pt>
                <c:pt idx="189">
                  <c:v>0.18141633952582609</c:v>
                </c:pt>
                <c:pt idx="190">
                  <c:v>0.1668463030825609</c:v>
                </c:pt>
                <c:pt idx="191">
                  <c:v>0.12835408910001284</c:v>
                </c:pt>
                <c:pt idx="192">
                  <c:v>0.17014740007190246</c:v>
                </c:pt>
                <c:pt idx="193">
                  <c:v>0.22311382468382032</c:v>
                </c:pt>
                <c:pt idx="194">
                  <c:v>0.16104868913857678</c:v>
                </c:pt>
                <c:pt idx="195">
                  <c:v>0.12270629601142731</c:v>
                </c:pt>
                <c:pt idx="196">
                  <c:v>0.16051803006000118</c:v>
                </c:pt>
                <c:pt idx="197">
                  <c:v>0.14253792408887769</c:v>
                </c:pt>
                <c:pt idx="198">
                  <c:v>0.13636363636363635</c:v>
                </c:pt>
                <c:pt idx="199">
                  <c:v>0.13756713110752244</c:v>
                </c:pt>
                <c:pt idx="200">
                  <c:v>0.20862568996164282</c:v>
                </c:pt>
                <c:pt idx="201">
                  <c:v>0.12964889466840052</c:v>
                </c:pt>
                <c:pt idx="202">
                  <c:v>9.9420455473022612E-2</c:v>
                </c:pt>
                <c:pt idx="203">
                  <c:v>0.13423991941457056</c:v>
                </c:pt>
                <c:pt idx="204">
                  <c:v>0.1110997512183485</c:v>
                </c:pt>
                <c:pt idx="205">
                  <c:v>0.10635911098646848</c:v>
                </c:pt>
                <c:pt idx="206">
                  <c:v>0.12368114895494844</c:v>
                </c:pt>
                <c:pt idx="207">
                  <c:v>0.1913274550066433</c:v>
                </c:pt>
                <c:pt idx="208">
                  <c:v>0.12989510489510489</c:v>
                </c:pt>
                <c:pt idx="209">
                  <c:v>8.594469403130843E-2</c:v>
                </c:pt>
                <c:pt idx="210">
                  <c:v>0.11293574401664933</c:v>
                </c:pt>
                <c:pt idx="211">
                  <c:v>9.605672777585611E-2</c:v>
                </c:pt>
                <c:pt idx="212">
                  <c:v>7.830233667143538E-2</c:v>
                </c:pt>
                <c:pt idx="213">
                  <c:v>0.15087358684480986</c:v>
                </c:pt>
                <c:pt idx="214">
                  <c:v>0.16187989556135771</c:v>
                </c:pt>
                <c:pt idx="215">
                  <c:v>0.15125899280575539</c:v>
                </c:pt>
                <c:pt idx="216">
                  <c:v>9.4229588704726822E-2</c:v>
                </c:pt>
                <c:pt idx="217">
                  <c:v>5.4959575373451884E-2</c:v>
                </c:pt>
                <c:pt idx="218">
                  <c:v>8.1078582434514643E-2</c:v>
                </c:pt>
                <c:pt idx="219">
                  <c:v>7.1132118976250866E-2</c:v>
                </c:pt>
                <c:pt idx="220">
                  <c:v>8.5714285714285715E-2</c:v>
                </c:pt>
                <c:pt idx="221">
                  <c:v>0.12723803933078956</c:v>
                </c:pt>
                <c:pt idx="222">
                  <c:v>6.9572368421052633E-2</c:v>
                </c:pt>
                <c:pt idx="223">
                  <c:v>5.2304752806305234E-2</c:v>
                </c:pt>
                <c:pt idx="224">
                  <c:v>6.93766397661984E-2</c:v>
                </c:pt>
                <c:pt idx="225">
                  <c:v>5.6786024223672793E-2</c:v>
                </c:pt>
                <c:pt idx="226">
                  <c:v>5.1655087862689006E-2</c:v>
                </c:pt>
                <c:pt idx="227">
                  <c:v>7.346302665520206E-2</c:v>
                </c:pt>
                <c:pt idx="228">
                  <c:v>0.10460515904415256</c:v>
                </c:pt>
                <c:pt idx="229">
                  <c:v>6.043437204910293E-2</c:v>
                </c:pt>
                <c:pt idx="230">
                  <c:v>4.6483568820447692E-2</c:v>
                </c:pt>
                <c:pt idx="231">
                  <c:v>5.4394245897954593E-2</c:v>
                </c:pt>
                <c:pt idx="232">
                  <c:v>5.0341695318137439E-2</c:v>
                </c:pt>
                <c:pt idx="233">
                  <c:v>4.7045951859956234E-2</c:v>
                </c:pt>
                <c:pt idx="234">
                  <c:v>7.0373861137291868E-2</c:v>
                </c:pt>
                <c:pt idx="235">
                  <c:v>9.453781512605041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58-4675-9881-47E6B1E866FB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F8-4987-9C0D-80515669533E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F8-4987-9C0D-80515669533E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solidFill>
                  <a:srgbClr val="3059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CF8-4987-9C0D-80515669533E}"/>
              </c:ext>
            </c:extLst>
          </c:dPt>
          <c:dPt>
            <c:idx val="1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745-4768-9A82-53B23EED99CA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HKK</c:v>
                </c:pt>
                <c:pt idx="2">
                  <c:v>PHA</c:v>
                </c:pt>
                <c:pt idx="3">
                  <c:v>STC</c:v>
                </c:pt>
                <c:pt idx="4">
                  <c:v>MSK</c:v>
                </c:pt>
                <c:pt idx="5">
                  <c:v>PLK</c:v>
                </c:pt>
                <c:pt idx="6">
                  <c:v>LBK</c:v>
                </c:pt>
                <c:pt idx="7">
                  <c:v>ČR</c:v>
                </c:pt>
                <c:pt idx="8">
                  <c:v>ULK</c:v>
                </c:pt>
                <c:pt idx="9">
                  <c:v>PAK</c:v>
                </c:pt>
                <c:pt idx="10">
                  <c:v>VYS</c:v>
                </c:pt>
                <c:pt idx="11">
                  <c:v>JMK</c:v>
                </c:pt>
                <c:pt idx="12">
                  <c:v>ZLK</c:v>
                </c:pt>
                <c:pt idx="13">
                  <c:v>JHC</c:v>
                </c:pt>
                <c:pt idx="14">
                  <c:v>OLK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3.2242063491999998E-2</c:v>
                </c:pt>
                <c:pt idx="1">
                  <c:v>3.4672970843000001E-2</c:v>
                </c:pt>
                <c:pt idx="2">
                  <c:v>5.5538373171000001E-2</c:v>
                </c:pt>
                <c:pt idx="3">
                  <c:v>8.1531531530999998E-2</c:v>
                </c:pt>
                <c:pt idx="4">
                  <c:v>9.0117278526000003E-2</c:v>
                </c:pt>
                <c:pt idx="5">
                  <c:v>9.3105670102999999E-2</c:v>
                </c:pt>
                <c:pt idx="6">
                  <c:v>9.4642555347999993E-2</c:v>
                </c:pt>
                <c:pt idx="7">
                  <c:v>9.5438351835999996E-2</c:v>
                </c:pt>
                <c:pt idx="8">
                  <c:v>0.10165516317000001</c:v>
                </c:pt>
                <c:pt idx="9">
                  <c:v>0.104244514707</c:v>
                </c:pt>
                <c:pt idx="10">
                  <c:v>0.104920619268</c:v>
                </c:pt>
                <c:pt idx="11">
                  <c:v>0.11052575564</c:v>
                </c:pt>
                <c:pt idx="12">
                  <c:v>0.114200279933</c:v>
                </c:pt>
                <c:pt idx="13">
                  <c:v>0.161322423706</c:v>
                </c:pt>
                <c:pt idx="14">
                  <c:v>0.179317697228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F8-4987-9C0D-8051566953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89-4284-9BB7-72C56D023830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89-4284-9BB7-72C56D023830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89-4284-9BB7-72C56D023830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89-4284-9BB7-72C56D023830}"/>
              </c:ext>
            </c:extLst>
          </c:dPt>
          <c:dPt>
            <c:idx val="1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627-4847-A25C-9849C9B459AE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AK</c:v>
                </c:pt>
                <c:pt idx="1">
                  <c:v>HKK</c:v>
                </c:pt>
                <c:pt idx="2">
                  <c:v>VYS</c:v>
                </c:pt>
                <c:pt idx="3">
                  <c:v>KVK</c:v>
                </c:pt>
                <c:pt idx="4">
                  <c:v>ULK</c:v>
                </c:pt>
                <c:pt idx="5">
                  <c:v>PHA</c:v>
                </c:pt>
                <c:pt idx="6">
                  <c:v>STC</c:v>
                </c:pt>
                <c:pt idx="7">
                  <c:v>ČR</c:v>
                </c:pt>
                <c:pt idx="8">
                  <c:v>MSK</c:v>
                </c:pt>
                <c:pt idx="9">
                  <c:v>LBK</c:v>
                </c:pt>
                <c:pt idx="10">
                  <c:v>OLK</c:v>
                </c:pt>
                <c:pt idx="11">
                  <c:v>JHC</c:v>
                </c:pt>
                <c:pt idx="12">
                  <c:v>JMK</c:v>
                </c:pt>
                <c:pt idx="13">
                  <c:v>PLK</c:v>
                </c:pt>
                <c:pt idx="14">
                  <c:v>ZLK</c:v>
                </c:pt>
              </c:strCache>
            </c:strRef>
          </c:cat>
          <c:val>
            <c:numRef>
              <c:f>Sheet1!$B$2:$B$16</c:f>
              <c:numCache>
                <c:formatCode>0.00</c:formatCode>
                <c:ptCount val="15"/>
                <c:pt idx="0">
                  <c:v>0.71972904318300002</c:v>
                </c:pt>
                <c:pt idx="1">
                  <c:v>0.73165137614599995</c:v>
                </c:pt>
                <c:pt idx="2">
                  <c:v>0.73487031700200001</c:v>
                </c:pt>
                <c:pt idx="3">
                  <c:v>0.75263157894699995</c:v>
                </c:pt>
                <c:pt idx="4">
                  <c:v>0.78180938558199997</c:v>
                </c:pt>
                <c:pt idx="5">
                  <c:v>0.81449126413100004</c:v>
                </c:pt>
                <c:pt idx="6">
                  <c:v>0.82227891156400001</c:v>
                </c:pt>
                <c:pt idx="7">
                  <c:v>0.83304704647299999</c:v>
                </c:pt>
                <c:pt idx="8">
                  <c:v>0.85218648355600002</c:v>
                </c:pt>
                <c:pt idx="9">
                  <c:v>0.85828877005299997</c:v>
                </c:pt>
                <c:pt idx="10">
                  <c:v>0.87056504599200002</c:v>
                </c:pt>
                <c:pt idx="11">
                  <c:v>0.87725421756800004</c:v>
                </c:pt>
                <c:pt idx="12">
                  <c:v>0.87991071428500001</c:v>
                </c:pt>
                <c:pt idx="13">
                  <c:v>0.905829596412</c:v>
                </c:pt>
                <c:pt idx="14">
                  <c:v>0.916814159292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89-4284-9BB7-72C56D0238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206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663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417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211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362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30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514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331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537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2192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7366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77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72469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98256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1075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79067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1159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71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6.sv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4.sv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8.png"/><Relationship Id="rId14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1758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4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8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  <p:sldLayoutId id="2147483786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pn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14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10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image" Target="../media/image19.png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image" Target="../media/image18.png"/><Relationship Id="rId2" Type="http://schemas.openxmlformats.org/officeDocument/2006/relationships/tags" Target="../tags/tag42.xml"/><Relationship Id="rId16" Type="http://schemas.openxmlformats.org/officeDocument/2006/relationships/image" Target="../media/image17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slideLayout" Target="../slideLayouts/slideLayout10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59.xml"/><Relationship Id="rId7" Type="http://schemas.openxmlformats.org/officeDocument/2006/relationships/chart" Target="../charts/chart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chart" Target="../charts/chart10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slideLayout" Target="../slideLayouts/slideLayout3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slideLayout" Target="../slideLayouts/slideLayout32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6" Type="http://schemas.openxmlformats.org/officeDocument/2006/relationships/chart" Target="../charts/chart14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chart" Target="../charts/chart13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chart" Target="../charts/chart17.xml"/><Relationship Id="rId2" Type="http://schemas.openxmlformats.org/officeDocument/2006/relationships/tags" Target="../tags/tag85.xml"/><Relationship Id="rId16" Type="http://schemas.openxmlformats.org/officeDocument/2006/relationships/chart" Target="../charts/chart16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chart" Target="../charts/chart15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3.xml"/><Relationship Id="rId1" Type="http://schemas.openxmlformats.org/officeDocument/2006/relationships/tags" Target="../tags/tag9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00.xml"/><Relationship Id="rId7" Type="http://schemas.openxmlformats.org/officeDocument/2006/relationships/chart" Target="../charts/chart18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Layout" Target="../slideLayouts/slideLayout32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chart" Target="../charts/chart22.xml"/><Relationship Id="rId5" Type="http://schemas.openxmlformats.org/officeDocument/2006/relationships/tags" Target="../tags/tag107.xml"/><Relationship Id="rId10" Type="http://schemas.openxmlformats.org/officeDocument/2006/relationships/chart" Target="../charts/chart21.xml"/><Relationship Id="rId4" Type="http://schemas.openxmlformats.org/officeDocument/2006/relationships/tags" Target="../tags/tag106.xml"/><Relationship Id="rId9" Type="http://schemas.openxmlformats.org/officeDocument/2006/relationships/chart" Target="../charts/chart2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chart" Target="../charts/chart25.xml"/><Relationship Id="rId5" Type="http://schemas.openxmlformats.org/officeDocument/2006/relationships/tags" Target="../tags/tag114.xml"/><Relationship Id="rId10" Type="http://schemas.openxmlformats.org/officeDocument/2006/relationships/chart" Target="../charts/chart24.xml"/><Relationship Id="rId4" Type="http://schemas.openxmlformats.org/officeDocument/2006/relationships/tags" Target="../tags/tag113.xml"/><Relationship Id="rId9" Type="http://schemas.openxmlformats.org/officeDocument/2006/relationships/chart" Target="../charts/chart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image" Target="../media/image21.png"/><Relationship Id="rId5" Type="http://schemas.openxmlformats.org/officeDocument/2006/relationships/tags" Target="../tags/tag121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20.xml"/><Relationship Id="rId9" Type="http://schemas.openxmlformats.org/officeDocument/2006/relationships/tags" Target="../tags/tag1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chart" Target="../charts/chart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3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5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25. 4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38004838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 v důsledku nově přijatých opatření a vlivem důslednějšího dodržování všech opatření byl růst epidemie na Moravě a Slezsku významně slabší (až o 40%) než v nejvíce zasažených částech Čech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ejší šíření epidemie zasáhlo jednotlivé regiony postupně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dříve a nejvíce byl zasažen západ a sever Čech, ší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ále postupovalo na východ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99349" y="211311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08877" y="3233618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1675768" y="3233617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223033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ovější data potvrzují setrvale klesající trend i v období po 12.4. Rozdíly mezi regiony se postupně snižují, žádný z region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hodnotách neroste. </a:t>
            </a:r>
          </a:p>
        </p:txBody>
      </p:sp>
    </p:spTree>
    <p:extLst>
      <p:ext uri="{BB962C8B-B14F-4D97-AF65-F5344CB8AC3E}">
        <p14:creationId xmlns:p14="http://schemas.microsoft.com/office/powerpoint/2010/main" val="37578021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614375" y="21714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614375" y="24801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614375" y="27888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614375" y="30976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614375" y="34063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854132" y="20767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854132" y="23880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854132" y="26993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54132" y="30106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54132" y="33219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614375" y="37150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614375" y="40237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54132" y="36332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854132" y="39445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739169" y="5000388"/>
            <a:ext cx="103895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voj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většině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ů je pozitivní a epidemie klesá, problematické okresy identifikuje zejména vysoká incidence a růstový vývoj v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ase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3" descr="Map&#10;&#10;Description automatically generated">
            <a:extLst>
              <a:ext uri="{FF2B5EF4-FFF2-40B4-BE49-F238E27FC236}">
                <a16:creationId xmlns:a16="http://schemas.microsoft.com/office/drawing/2014/main" id="{552BC8D4-27CE-4092-8897-D8E08773359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5" r="20396"/>
          <a:stretch/>
        </p:blipFill>
        <p:spPr>
          <a:xfrm>
            <a:off x="3726318" y="1428605"/>
            <a:ext cx="3472173" cy="2176655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107109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pic>
        <p:nvPicPr>
          <p:cNvPr id="26" name="Picture 2" descr="Map&#10;&#10;Description automatically generated">
            <a:extLst>
              <a:ext uri="{FF2B5EF4-FFF2-40B4-BE49-F238E27FC236}">
                <a16:creationId xmlns:a16="http://schemas.microsoft.com/office/drawing/2014/main" id="{2BF8348F-2FD1-41EE-84CE-5378A7AF7240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10074"/>
          <a:stretch/>
        </p:blipFill>
        <p:spPr>
          <a:xfrm>
            <a:off x="66017" y="1476362"/>
            <a:ext cx="3476834" cy="2176655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726318" y="102849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52482" y="102849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4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DEA6C9BE-126C-428D-BDDB-84A11087115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1" r="9871"/>
          <a:stretch/>
        </p:blipFill>
        <p:spPr>
          <a:xfrm>
            <a:off x="7132191" y="1438860"/>
            <a:ext cx="342540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954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614375" y="21714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614375" y="24801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614375" y="27888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614375" y="30976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614375" y="34063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854132" y="20767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854132" y="23880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854132" y="26993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54132" y="30106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54132" y="33219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614375" y="37150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614375" y="40237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54132" y="36332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854132" y="39445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739169" y="5000388"/>
            <a:ext cx="103895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voj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většině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ů je pozitivní a epidemie klesá, problematické okresy identifikuje zejména vysoká incidence a růstový vývoj v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ase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09211" y="107109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26318" y="102849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E281887D-7EA3-43A5-8441-201666CD9FA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381958" y="109326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63B5253B-E861-4FFE-AB44-273AD5B20C0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0" r="8446"/>
          <a:stretch/>
        </p:blipFill>
        <p:spPr>
          <a:xfrm>
            <a:off x="7120763" y="1515913"/>
            <a:ext cx="3476834" cy="2160000"/>
          </a:xfrm>
          <a:prstGeom prst="rect">
            <a:avLst/>
          </a:prstGeom>
        </p:spPr>
      </p:pic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C4F02B3B-4574-4A86-B2D5-2B884BBF660F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4" r="9670"/>
          <a:stretch/>
        </p:blipFill>
        <p:spPr>
          <a:xfrm>
            <a:off x="3531872" y="1515913"/>
            <a:ext cx="3457350" cy="2160000"/>
          </a:xfrm>
          <a:prstGeom prst="rect">
            <a:avLst/>
          </a:prstGeom>
        </p:spPr>
      </p:pic>
      <p:pic>
        <p:nvPicPr>
          <p:cNvPr id="30" name="Picture 29" descr="Map&#10;&#10;Description automatically generated">
            <a:extLst>
              <a:ext uri="{FF2B5EF4-FFF2-40B4-BE49-F238E27FC236}">
                <a16:creationId xmlns:a16="http://schemas.microsoft.com/office/drawing/2014/main" id="{C0B50698-A429-41CC-8998-7209D3D6AC78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2" r="10138"/>
          <a:stretch/>
        </p:blipFill>
        <p:spPr>
          <a:xfrm>
            <a:off x="64596" y="1515913"/>
            <a:ext cx="340150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5419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24.4.</a:t>
            </a:r>
            <a:r>
              <a:rPr lang="cs-CZ" dirty="0"/>
              <a:t> 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73992" y="687671"/>
            <a:ext cx="109751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regiony stále existují významné rozdíly, které stále odpovídají gradientu rostoucího rizika „západ -&gt; východ“ země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mezinárodně používanou hranici 100 nových případů na  100 tis. obyvatel dlouhodobě klesly hodnoty v Karlovarském a Královéhradeckém kraji, silně klesá kraj Plzeňský. Potenciálně rizikový je zejména kraj Zlínský. </a:t>
            </a:r>
          </a:p>
        </p:txBody>
      </p:sp>
      <p:sp>
        <p:nvSpPr>
          <p:cNvPr id="2" name="Šipka dolů 1"/>
          <p:cNvSpPr/>
          <p:nvPr/>
        </p:nvSpPr>
        <p:spPr>
          <a:xfrm rot="2991386">
            <a:off x="3962401" y="2343441"/>
            <a:ext cx="831273" cy="57265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Šipka dolů 13"/>
          <p:cNvSpPr/>
          <p:nvPr/>
        </p:nvSpPr>
        <p:spPr>
          <a:xfrm rot="18513336">
            <a:off x="7763361" y="2342275"/>
            <a:ext cx="831273" cy="57265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827568" y="3196746"/>
            <a:ext cx="4609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pozitivních na COVID-19 ve věku 65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 100 000 obyvatel 65+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98233" y="3196746"/>
            <a:ext cx="443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pozitivních na COVID-19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 100 000 obyvatel)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862" y="3710348"/>
            <a:ext cx="11302964" cy="2505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6326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24.4.</a:t>
            </a:r>
            <a:r>
              <a:rPr lang="cs-CZ" dirty="0"/>
              <a:t> 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808715" y="1485826"/>
            <a:ext cx="4609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elativní pozitivita testů s diagnostickou/epidemiologickou indikací za 7 dní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7660" y="1598948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pl-PL" sz="1400" b="1" dirty="0">
                <a:solidFill>
                  <a:srgbClr val="000000"/>
                </a:solidFill>
              </a:rPr>
              <a:t>R (zjednodušený výpočet) - 7 denní úseky</a:t>
            </a:r>
            <a:r>
              <a:rPr lang="en-US" sz="1400" b="1" dirty="0">
                <a:solidFill>
                  <a:srgbClr val="000000"/>
                </a:solidFill>
              </a:rPr>
              <a:t>*</a:t>
            </a:r>
            <a:endParaRPr kumimoji="0" lang="pl-PL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Chart 25">
            <a:extLst>
              <a:ext uri="{FF2B5EF4-FFF2-40B4-BE49-F238E27FC236}">
                <a16:creationId xmlns:a16="http://schemas.microsoft.com/office/drawing/2014/main" id="{9E443E8B-5A61-43CD-B5EB-DB412E27F19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3212727"/>
              </p:ext>
            </p:extLst>
          </p:nvPr>
        </p:nvGraphicFramePr>
        <p:xfrm>
          <a:off x="6032508" y="2281132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Chart 28">
            <a:extLst>
              <a:ext uri="{FF2B5EF4-FFF2-40B4-BE49-F238E27FC236}">
                <a16:creationId xmlns:a16="http://schemas.microsoft.com/office/drawing/2014/main" id="{72532355-F2FD-45A1-BC03-25AEA9752BE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85153604"/>
              </p:ext>
            </p:extLst>
          </p:nvPr>
        </p:nvGraphicFramePr>
        <p:xfrm>
          <a:off x="381739" y="2281132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220196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96728" y="1881031"/>
            <a:ext cx="11368377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ižších hodnot dosahuje incidence v krajích KVK, KHK a PLK – zde již hodnoty začaly klesat pod hranici 100/100 tis. obyvatel za týden. Naopak nejvíce zatížené jsou kraje Ústecký, Jihočeský a kraje východní části země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stále není bez rizika, v ČR stále probíhá komunitní šíření viru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zitivem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, že hodnota reprodukčního čísla je ve všech krajích nižší než 1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3000" b="1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35425" y="134145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16080" y="116631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klesá ve všech regionech,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 s velkými rozdíly mezi nimi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235425" y="419821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9080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92654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1FCC30E0-012C-42C2-B59F-A0292D5AD49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792090"/>
              </p:ext>
            </p:extLst>
          </p:nvPr>
        </p:nvGraphicFramePr>
        <p:xfrm>
          <a:off x="4801661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25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3539715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C5754D97-E693-4639-A3C4-91519B6D34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924819" y="94270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CF5DD7-DB94-41D5-AC32-84DF491D92C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093555" y="87881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0635B9-866E-41BC-9FBA-F869FA38D53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156720" y="93655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8DC5A7F-69E7-400E-85DF-58C34F86EDB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288277" y="87267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7BFA7B6-9667-4A87-8E85-9C9FA0315F0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312481" y="93003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66D0D9B-9C07-44DC-9B01-39129A12BC9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463088" y="86614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4.2021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497709" y="3185204"/>
            <a:ext cx="36449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šech regionech.</a:t>
            </a: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1339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92654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F5015331-E6DB-4CB3-9025-5E23A643FF6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131736"/>
              </p:ext>
            </p:extLst>
          </p:nvPr>
        </p:nvGraphicFramePr>
        <p:xfrm>
          <a:off x="44622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7 dní na 100 000 obyvatel: srovnání krajů k 25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46565406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585454" y="94270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54190" y="87881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2952A04-F72D-414D-BE69-BCD8892CA7F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817355" y="93655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91E93D-4A26-46BB-A19D-DBD41A36775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948912" y="87267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73116" y="93003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123723" y="86614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4.2021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EF5EE6B-3123-440B-B633-57F8E8C81DB8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66383618"/>
              </p:ext>
            </p:extLst>
          </p:nvPr>
        </p:nvGraphicFramePr>
        <p:xfrm>
          <a:off x="8050306" y="1297422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1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9240277" y="967565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</p:spTree>
    <p:extLst>
      <p:ext uri="{BB962C8B-B14F-4D97-AF65-F5344CB8AC3E}">
        <p14:creationId xmlns:p14="http://schemas.microsoft.com/office/powerpoint/2010/main" val="37877817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: </a:t>
            </a:r>
            <a:r>
              <a:rPr lang="pl-PL" sz="2000" dirty="0" smtClean="0">
                <a:latin typeface="+mn-lt"/>
              </a:rPr>
              <a:t/>
            </a:r>
            <a:br>
              <a:rPr lang="pl-PL" sz="2000" dirty="0" smtClean="0">
                <a:latin typeface="+mn-lt"/>
              </a:rPr>
            </a:br>
            <a:r>
              <a:rPr lang="pl-PL" sz="2000" dirty="0" smtClean="0">
                <a:latin typeface="+mn-lt"/>
              </a:rPr>
              <a:t>srovnání </a:t>
            </a:r>
            <a:r>
              <a:rPr lang="pl-PL" sz="2000" dirty="0">
                <a:latin typeface="+mn-lt"/>
              </a:rPr>
              <a:t>krajů k 25.4.</a:t>
            </a:r>
            <a:endParaRPr lang="cs-CZ" sz="2000" dirty="0">
              <a:latin typeface="+mn-lt"/>
            </a:endParaRPr>
          </a:p>
        </p:txBody>
      </p:sp>
      <p:sp>
        <p:nvSpPr>
          <p:cNvPr id="31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240277" y="967565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85454" y="94270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54190" y="87881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817355" y="93655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948912" y="87267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973116" y="93003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123723" y="86614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4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52400" y="407894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30518540"/>
              </p:ext>
            </p:extLst>
          </p:nvPr>
        </p:nvGraphicFramePr>
        <p:xfrm>
          <a:off x="4614696" y="14056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15834011"/>
              </p:ext>
            </p:extLst>
          </p:nvPr>
        </p:nvGraphicFramePr>
        <p:xfrm>
          <a:off x="224224" y="14056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CD581858-A9DA-4377-A0CA-769C77123C38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72347552"/>
              </p:ext>
            </p:extLst>
          </p:nvPr>
        </p:nvGraphicFramePr>
        <p:xfrm>
          <a:off x="8202706" y="1449822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8" name="TextovéPole 6">
            <a:extLst>
              <a:ext uri="{FF2B5EF4-FFF2-40B4-BE49-F238E27FC236}">
                <a16:creationId xmlns:a16="http://schemas.microsoft.com/office/drawing/2014/main" id="{3E927BF5-755E-4BCE-A28E-EF48DE769CA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392677" y="1119965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</p:spTree>
    <p:extLst>
      <p:ext uri="{BB962C8B-B14F-4D97-AF65-F5344CB8AC3E}">
        <p14:creationId xmlns:p14="http://schemas.microsoft.com/office/powerpoint/2010/main" val="297794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28575" y="1910183"/>
            <a:ext cx="118205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3 000 denně. Stále klesá relativní pozitivita testů. Významný je i pokles nově nakažených potenciálně zranitelných skupin obyvatel. Reprodukční číslo osciluje mezi 0,70 – 0,90. Pokles je patrný u všech věkových kategori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tím se na celorepublikových datech neprojevuje negativní efekt změn po 12.4. Avšak stále existují značné rozdíly mezi regiony.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klesá počet nových případů onemocnění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98038" y="474391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182032" y="638389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1515725" y="5533849"/>
            <a:ext cx="5429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-72734" y="5533850"/>
            <a:ext cx="5429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23956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okres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8977516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25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983516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12089" y="1005347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1E87494-144D-41F5-A285-4B3722EAA69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24919773"/>
              </p:ext>
            </p:extLst>
          </p:nvPr>
        </p:nvGraphicFramePr>
        <p:xfrm>
          <a:off x="4554069" y="1372986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48849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</p:spTree>
    <p:extLst>
      <p:ext uri="{BB962C8B-B14F-4D97-AF65-F5344CB8AC3E}">
        <p14:creationId xmlns:p14="http://schemas.microsoft.com/office/powerpoint/2010/main" val="39010430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Další ukazatele pro 20 okresů s nejvyšším 7denním počtem případů – hodnoty k 25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720031"/>
              </p:ext>
            </p:extLst>
          </p:nvPr>
        </p:nvGraphicFramePr>
        <p:xfrm>
          <a:off x="-32951" y="13294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2374" y="901814"/>
            <a:ext cx="37748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 (zjednodušený výpočet) - 7 denní úseky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8A62067-53FF-4C09-BEE0-82A7C952932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21328915"/>
              </p:ext>
            </p:extLst>
          </p:nvPr>
        </p:nvGraphicFramePr>
        <p:xfrm>
          <a:off x="4013610" y="13294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3" name="TextovéPole 6">
            <a:extLst>
              <a:ext uri="{FF2B5EF4-FFF2-40B4-BE49-F238E27FC236}">
                <a16:creationId xmlns:a16="http://schemas.microsoft.com/office/drawing/2014/main" id="{0D208FF1-DE9A-4FD0-8B00-E58C94A5183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478165" y="724709"/>
            <a:ext cx="37748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elativní pozitivita testů s diagnostickou/epidemiologickou indikací za 7 dní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6">
            <a:extLst>
              <a:ext uri="{FF2B5EF4-FFF2-40B4-BE49-F238E27FC236}">
                <a16:creationId xmlns:a16="http://schemas.microsoft.com/office/drawing/2014/main" id="{7C59784F-D1AD-43B0-A98F-6DD8AF6B4D6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93817" y="724709"/>
            <a:ext cx="36263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7 denní změna v relativní pozitivitě testů s diagnostickou/epidemiologickou indikací za 7 dní 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AF05243-6294-4C14-8D9A-9794B29753B9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00788776"/>
              </p:ext>
            </p:extLst>
          </p:nvPr>
        </p:nvGraphicFramePr>
        <p:xfrm>
          <a:off x="8173569" y="1439332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8038882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7denní hodnota reprodukčního čísla: okresy s nejvyššími hodnotami k 25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371343"/>
              </p:ext>
            </p:extLst>
          </p:nvPr>
        </p:nvGraphicFramePr>
        <p:xfrm>
          <a:off x="1" y="1253263"/>
          <a:ext cx="4306024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1027" y="813261"/>
            <a:ext cx="37385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 (zjednodušený výpočet) - 7 denní úseky</a:t>
            </a:r>
          </a:p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Okresy s R ≥ 0.95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3265475-DBBD-42FC-8FAF-F4E709DFF50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90992942"/>
              </p:ext>
            </p:extLst>
          </p:nvPr>
        </p:nvGraphicFramePr>
        <p:xfrm>
          <a:off x="4015305" y="1253262"/>
          <a:ext cx="4306024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161A3A20-6686-455F-A26C-71CEB3CDB1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73124" y="813261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Počet případů za 7 dní/100 tis. obyv.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75FB8E0-FF2E-4939-9C96-2CACC695124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58074647"/>
              </p:ext>
            </p:extLst>
          </p:nvPr>
        </p:nvGraphicFramePr>
        <p:xfrm>
          <a:off x="7917082" y="1253262"/>
          <a:ext cx="4306024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ovéPole 6">
            <a:extLst>
              <a:ext uri="{FF2B5EF4-FFF2-40B4-BE49-F238E27FC236}">
                <a16:creationId xmlns:a16="http://schemas.microsoft.com/office/drawing/2014/main" id="{3979DEB8-4537-4FC1-BD23-8B33C043AE0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29928" y="620982"/>
            <a:ext cx="34845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elativní pozitivita testů s diagnostickou/epidemiologickou indikací za 7 dní</a:t>
            </a:r>
          </a:p>
        </p:txBody>
      </p:sp>
    </p:spTree>
    <p:extLst>
      <p:ext uri="{BB962C8B-B14F-4D97-AF65-F5344CB8AC3E}">
        <p14:creationId xmlns:p14="http://schemas.microsoft.com/office/powerpoint/2010/main" val="22986756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nejvyššími počty a R</a:t>
            </a:r>
            <a:endParaRPr lang="cs-CZ" sz="2000" dirty="0">
              <a:latin typeface="+mn-lt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258E2A14-461A-4A4F-A362-DD43CA755AC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47712"/>
            <a:ext cx="8787398" cy="46761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81527"/>
            <a:ext cx="180000" cy="18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Okresy spadající </a:t>
            </a:r>
            <a:r>
              <a:rPr lang="cs-CZ" dirty="0" smtClean="0"/>
              <a:t>s vysokými 7denními </a:t>
            </a:r>
            <a:r>
              <a:rPr lang="cs-CZ" dirty="0"/>
              <a:t>novými počty pozitivních a R</a:t>
            </a:r>
            <a:r>
              <a:rPr lang="en-US" dirty="0"/>
              <a:t>&lt;0.95</a:t>
            </a:r>
            <a:endParaRPr lang="cs-CZ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≥0.95, ale </a:t>
            </a:r>
            <a:r>
              <a:rPr lang="en-US" dirty="0" err="1"/>
              <a:t>nespad</a:t>
            </a:r>
            <a:r>
              <a:rPr lang="cs-CZ" dirty="0"/>
              <a:t>á</a:t>
            </a:r>
            <a:r>
              <a:rPr lang="en-US" dirty="0"/>
              <a:t> </a:t>
            </a:r>
            <a:r>
              <a:rPr lang="en-US" dirty="0" err="1"/>
              <a:t>mezi</a:t>
            </a:r>
            <a:r>
              <a:rPr lang="cs-CZ" dirty="0"/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≥0.95</a:t>
            </a:r>
            <a:r>
              <a:rPr lang="cs-CZ" dirty="0"/>
              <a:t> a </a:t>
            </a:r>
            <a:r>
              <a:rPr lang="en-US" dirty="0" err="1"/>
              <a:t>spad</a:t>
            </a:r>
            <a:r>
              <a:rPr lang="cs-CZ" dirty="0"/>
              <a:t>á</a:t>
            </a:r>
            <a:r>
              <a:rPr lang="en-US" dirty="0"/>
              <a:t> </a:t>
            </a:r>
            <a:r>
              <a:rPr lang="en-US" dirty="0" err="1"/>
              <a:t>mezi</a:t>
            </a:r>
            <a:r>
              <a:rPr lang="cs-CZ" dirty="0"/>
              <a:t> 20 okresů s nejvyššími 7denními novými počty pozitivních 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8D0C275-A642-4830-A220-ABD9A7159C5E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09951784"/>
              </p:ext>
            </p:extLst>
          </p:nvPr>
        </p:nvGraphicFramePr>
        <p:xfrm>
          <a:off x="9807575" y="747712"/>
          <a:ext cx="2155825" cy="60217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5825">
                  <a:extLst>
                    <a:ext uri="{9D8B030D-6E8A-4147-A177-3AD203B41FA5}">
                      <a16:colId xmlns:a16="http://schemas.microsoft.com/office/drawing/2014/main" val="3340143122"/>
                    </a:ext>
                  </a:extLst>
                </a:gridCol>
              </a:tblGrid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Ostrava-měst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798058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České Budějovic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48291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Beroun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29879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Teplic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17835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Písek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751941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Česká Líp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361973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Strakonic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323692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Jihlav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89625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Uherské Hradiště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122148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Olomou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68934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Bla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927439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Děčí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76015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Most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124952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Třebíč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916423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rutnov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06566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říbram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810143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lzeň-sever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93754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Jeseník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4172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Břeclav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007932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lzeň-jih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191514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achov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54862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Znojmo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282691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lzeň-město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763273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arlovy Vary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50769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Vyškov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331637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hatice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18246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Zlín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855260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Vsetín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007207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ábor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63493"/>
                  </a:ext>
                </a:extLst>
              </a:tr>
              <a:tr h="200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řerov</a:t>
                      </a:r>
                      <a:endParaRPr lang="cs-CZ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876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6871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B5CDE06-5667-475E-8B8F-F1C862A26F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934027"/>
              </p:ext>
            </p:extLst>
          </p:nvPr>
        </p:nvGraphicFramePr>
        <p:xfrm>
          <a:off x="1752600" y="2113487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0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2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692146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215" y="546834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ukazuje na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66554056"/>
              </p:ext>
            </p:extLst>
          </p:nvPr>
        </p:nvGraphicFramePr>
        <p:xfrm>
          <a:off x="197157" y="967891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9AF1931-9334-4129-B826-B01E87F9D7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27675" y="3112433"/>
            <a:ext cx="3956723" cy="400110"/>
          </a:xfrm>
          <a:prstGeom prst="rect">
            <a:avLst/>
          </a:prstGeom>
          <a:solidFill>
            <a:srgbClr val="9E0D34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odhad R pro Č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0,82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A9C0856-15CF-4917-B9A3-CAFB4763F040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1348226"/>
              </p:ext>
            </p:extLst>
          </p:nvPr>
        </p:nvGraphicFramePr>
        <p:xfrm>
          <a:off x="197157" y="1743341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7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0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8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4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0662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374232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577429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958329" y="1733836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/>
        </p:nvCxnSpPr>
        <p:spPr>
          <a:xfrm>
            <a:off x="2433470" y="2210508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614069" y="1810524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5876" y="2180514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/>
        </p:nvCxnSpPr>
        <p:spPr>
          <a:xfrm>
            <a:off x="3091890" y="2827644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7478935" y="2414374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.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ování po 12.4. zastavilo pokles u dětí mladších než 11 let, nedochází ale k eskalaci a nárůst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</p:txBody>
      </p:sp>
      <p:cxnSp>
        <p:nvCxnSpPr>
          <p:cNvPr id="4" name="Přímá spojnice se šipkou 3"/>
          <p:cNvCxnSpPr/>
          <p:nvPr/>
        </p:nvCxnSpPr>
        <p:spPr>
          <a:xfrm>
            <a:off x="9792293" y="1490307"/>
            <a:ext cx="32712" cy="30542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3404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94118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</a:t>
            </a:r>
            <a:r>
              <a:rPr lang="en-US" sz="2000" dirty="0">
                <a:latin typeface="+mn-lt"/>
              </a:rPr>
              <a:t>4</a:t>
            </a:r>
            <a:r>
              <a:rPr lang="pl-PL" sz="2000" dirty="0">
                <a:latin typeface="+mn-lt"/>
              </a:rPr>
              <a:t>.4.</a:t>
            </a:r>
            <a:r>
              <a:rPr lang="en-US" sz="2000" dirty="0">
                <a:latin typeface="+mn-lt"/>
              </a:rPr>
              <a:t>: 5-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7310476"/>
              </p:ext>
            </p:ext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0174911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497709" y="3185204"/>
            <a:ext cx="364495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írný nárůst</a:t>
            </a: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očtu nově nakažených dětí ve věku 5 – 11 let je mezi 13.4. a 24.4. </a:t>
            </a:r>
            <a:r>
              <a:rPr lang="cs-CZ" sz="22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ován pouze ve Zlínském kraji. Ostatní regiony v tomto ukazateli klesají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677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861434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tegoriích dospělých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8" y="3830816"/>
            <a:ext cx="117378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á relativní pozitivita diagnostických a také epidemiologicky indikovaných testů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90" y="321058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391539"/>
            <a:ext cx="11508509" cy="28170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prokazatelné, že na populačních datech se neprojevil negativní vliv Velikonoc a rovněž ani změny přijaté po 12.4. Zpomalování epidemie je patrné ve všech regionech, ačkoli mezi nimi existují značné rozdíly.</a:t>
            </a:r>
            <a:endParaRPr kumimoji="0" lang="cs-CZ" sz="3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27781" y="584046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64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le 13">
            <a:extLst>
              <a:ext uri="{FF2B5EF4-FFF2-40B4-BE49-F238E27FC236}">
                <a16:creationId xmlns:a16="http://schemas.microsoft.com/office/drawing/2014/main" id="{7332BE1B-A04F-4B08-9CEA-5EDA4FE448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027580"/>
              </p:ext>
            </p:extLst>
          </p:nvPr>
        </p:nvGraphicFramePr>
        <p:xfrm>
          <a:off x="1451034" y="576002"/>
          <a:ext cx="3153360" cy="221635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58756" y="282313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diagnostické a klin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</p:spTree>
    <p:extLst>
      <p:ext uri="{BB962C8B-B14F-4D97-AF65-F5344CB8AC3E}">
        <p14:creationId xmlns:p14="http://schemas.microsoft.com/office/powerpoint/2010/main" val="829708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6E11C0F3-2892-4545-A2F4-3ED6F926A8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8960727"/>
              </p:ext>
            </p:extLst>
          </p:nvPr>
        </p:nvGraphicFramePr>
        <p:xfrm>
          <a:off x="1460461" y="576002"/>
          <a:ext cx="3153360" cy="221635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68183" y="279235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epidemiolog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</p:spTree>
    <p:extLst>
      <p:ext uri="{BB962C8B-B14F-4D97-AF65-F5344CB8AC3E}">
        <p14:creationId xmlns:p14="http://schemas.microsoft.com/office/powerpoint/2010/main" val="734670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10</TotalTime>
  <Words>1433</Words>
  <Application>Microsoft Office PowerPoint</Application>
  <PresentationFormat>Širokoúhlá obrazovka</PresentationFormat>
  <Paragraphs>221</Paragraphs>
  <Slides>24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24</vt:i4>
      </vt:variant>
    </vt:vector>
  </HeadingPairs>
  <TitlesOfParts>
    <vt:vector size="34" baseType="lpstr">
      <vt:lpstr>Arial Black</vt:lpstr>
      <vt:lpstr>Arial (Základní text)</vt:lpstr>
      <vt:lpstr>Calibri Light</vt:lpstr>
      <vt:lpstr>Arial</vt:lpstr>
      <vt:lpstr>Calibri</vt:lpstr>
      <vt:lpstr>1_Motiv Office</vt:lpstr>
      <vt:lpstr>7_Motiv Office</vt:lpstr>
      <vt:lpstr>8_Motiv Office</vt:lpstr>
      <vt:lpstr>4_Motiv Office</vt:lpstr>
      <vt:lpstr>12_Motiv Office</vt:lpstr>
      <vt:lpstr>Datová a informační základna  pro management pandemie COVID-19</vt:lpstr>
      <vt:lpstr>Prezentace aplikace PowerPoint</vt:lpstr>
      <vt:lpstr>Počty nově diagnostikovaných pacientů: týdenní vývoj v ČR</vt:lpstr>
      <vt:lpstr>Počty COVID-19 pozitivních v ČR na 100 000 v populaci</vt:lpstr>
      <vt:lpstr>Nové případy za 7 dní na 100 000 obyvatel: srovnání krajů k 24.4.: 5-11 let</vt:lpstr>
      <vt:lpstr>Počty COVID-19 pozitivních v ČR na 100 000 v populaci</vt:lpstr>
      <vt:lpstr>Prezentace aplikace PowerPoint</vt:lpstr>
      <vt:lpstr>Podíl pozitivních testů: diagnostické indikace </vt:lpstr>
      <vt:lpstr>Podíl pozitivních testů: epidemiologické indikace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RP</vt:lpstr>
      <vt:lpstr>Zátěž regionů ve vzájemném srovnání krajů k 24.4. </vt:lpstr>
      <vt:lpstr>Zátěž regionů ve vzájemném srovnání krajů k 24.4. </vt:lpstr>
      <vt:lpstr>Prezentace aplikace PowerPoint</vt:lpstr>
      <vt:lpstr>R (zjednodušený výpočet) - 7 denní úseky: srovnání krajů k 25.4.</vt:lpstr>
      <vt:lpstr>Nové případy za 7 dní na 100 000 obyvatel: srovnání krajů k 25.4.</vt:lpstr>
      <vt:lpstr>Relativní pozitivita testů s diagnostickou/epidemiologickou indikací za 7 dní:  srovnání krajů k 25.4.</vt:lpstr>
      <vt:lpstr>Datová a informační základna  pro management pandemie COVID-19</vt:lpstr>
      <vt:lpstr>Nové případy za 7 dní na 100 000 obyvatel: 20 okresů s nejvyššími hodnotami k 25.4.</vt:lpstr>
      <vt:lpstr>Další ukazatele pro 20 okresů s nejvyšším 7denním počtem případů – hodnoty k 25.4.</vt:lpstr>
      <vt:lpstr>7denní hodnota reprodukčního čísla: okresy s nejvyššími hodnotami k 25.4.</vt:lpstr>
      <vt:lpstr>Přehled okresů s nejvyššími počty a 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631</cp:revision>
  <dcterms:created xsi:type="dcterms:W3CDTF">2020-11-11T17:36:28Z</dcterms:created>
  <dcterms:modified xsi:type="dcterms:W3CDTF">2021-04-25T19:43:47Z</dcterms:modified>
</cp:coreProperties>
</file>